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60" r:id="rId5"/>
    <p:sldId id="362" r:id="rId6"/>
  </p:sldIdLst>
  <p:sldSz cx="9144000" cy="6858000" type="screen4x3"/>
  <p:notesSz cx="6797675" cy="9926638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5929"/>
    <a:srgbClr val="334173"/>
    <a:srgbClr val="F2F2F2"/>
    <a:srgbClr val="5C6B9E"/>
    <a:srgbClr val="002B72"/>
    <a:srgbClr val="7D8EC4"/>
    <a:srgbClr val="6171A9"/>
    <a:srgbClr val="48578E"/>
    <a:srgbClr val="212C58"/>
    <a:srgbClr val="87C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EBEC2B-30D5-47E6-A75F-2C06BB7F746A}" v="530" dt="2023-06-09T15:05:28.3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5" autoAdjust="0"/>
    <p:restoredTop sz="94131" autoAdjust="0"/>
  </p:normalViewPr>
  <p:slideViewPr>
    <p:cSldViewPr>
      <p:cViewPr varScale="1">
        <p:scale>
          <a:sx n="114" d="100"/>
          <a:sy n="114" d="100"/>
        </p:scale>
        <p:origin x="690" y="10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tte Frederiksen" userId="30ccb471-d9ba-46c6-baf4-28b32116df08" providerId="ADAL" clId="{3AEBEC2B-30D5-47E6-A75F-2C06BB7F746A}"/>
    <pc:docChg chg="undo custSel addSld delSld modSld modMainMaster">
      <pc:chgData name="Mette Frederiksen" userId="30ccb471-d9ba-46c6-baf4-28b32116df08" providerId="ADAL" clId="{3AEBEC2B-30D5-47E6-A75F-2C06BB7F746A}" dt="2023-06-09T15:06:00.307" v="1037" actId="1076"/>
      <pc:docMkLst>
        <pc:docMk/>
      </pc:docMkLst>
      <pc:sldChg chg="del">
        <pc:chgData name="Mette Frederiksen" userId="30ccb471-d9ba-46c6-baf4-28b32116df08" providerId="ADAL" clId="{3AEBEC2B-30D5-47E6-A75F-2C06BB7F746A}" dt="2023-06-09T12:58:37.432" v="625" actId="47"/>
        <pc:sldMkLst>
          <pc:docMk/>
          <pc:sldMk cId="2410003394" sldId="334"/>
        </pc:sldMkLst>
      </pc:sldChg>
      <pc:sldChg chg="del">
        <pc:chgData name="Mette Frederiksen" userId="30ccb471-d9ba-46c6-baf4-28b32116df08" providerId="ADAL" clId="{3AEBEC2B-30D5-47E6-A75F-2C06BB7F746A}" dt="2023-06-09T12:58:37.432" v="625" actId="47"/>
        <pc:sldMkLst>
          <pc:docMk/>
          <pc:sldMk cId="356920626" sldId="356"/>
        </pc:sldMkLst>
      </pc:sldChg>
      <pc:sldChg chg="del">
        <pc:chgData name="Mette Frederiksen" userId="30ccb471-d9ba-46c6-baf4-28b32116df08" providerId="ADAL" clId="{3AEBEC2B-30D5-47E6-A75F-2C06BB7F746A}" dt="2023-06-09T12:58:37.432" v="625" actId="47"/>
        <pc:sldMkLst>
          <pc:docMk/>
          <pc:sldMk cId="1503092843" sldId="357"/>
        </pc:sldMkLst>
      </pc:sldChg>
      <pc:sldChg chg="del">
        <pc:chgData name="Mette Frederiksen" userId="30ccb471-d9ba-46c6-baf4-28b32116df08" providerId="ADAL" clId="{3AEBEC2B-30D5-47E6-A75F-2C06BB7F746A}" dt="2023-06-09T12:58:37.432" v="625" actId="47"/>
        <pc:sldMkLst>
          <pc:docMk/>
          <pc:sldMk cId="1597798346" sldId="358"/>
        </pc:sldMkLst>
      </pc:sldChg>
      <pc:sldChg chg="del">
        <pc:chgData name="Mette Frederiksen" userId="30ccb471-d9ba-46c6-baf4-28b32116df08" providerId="ADAL" clId="{3AEBEC2B-30D5-47E6-A75F-2C06BB7F746A}" dt="2023-06-09T12:58:37.432" v="625" actId="47"/>
        <pc:sldMkLst>
          <pc:docMk/>
          <pc:sldMk cId="2986552828" sldId="359"/>
        </pc:sldMkLst>
      </pc:sldChg>
      <pc:sldChg chg="addSp delSp modSp new del mod">
        <pc:chgData name="Mette Frederiksen" userId="30ccb471-d9ba-46c6-baf4-28b32116df08" providerId="ADAL" clId="{3AEBEC2B-30D5-47E6-A75F-2C06BB7F746A}" dt="2023-06-09T12:58:37.432" v="625" actId="47"/>
        <pc:sldMkLst>
          <pc:docMk/>
          <pc:sldMk cId="1626890407" sldId="361"/>
        </pc:sldMkLst>
        <pc:spChg chg="add del mod">
          <ac:chgData name="Mette Frederiksen" userId="30ccb471-d9ba-46c6-baf4-28b32116df08" providerId="ADAL" clId="{3AEBEC2B-30D5-47E6-A75F-2C06BB7F746A}" dt="2023-06-06T18:47:32.976" v="142" actId="478"/>
          <ac:spMkLst>
            <pc:docMk/>
            <pc:sldMk cId="1626890407" sldId="361"/>
            <ac:spMk id="12" creationId="{71890CEA-F5BD-3E86-363C-CFF522D120DD}"/>
          </ac:spMkLst>
        </pc:spChg>
        <pc:spChg chg="add mod">
          <ac:chgData name="Mette Frederiksen" userId="30ccb471-d9ba-46c6-baf4-28b32116df08" providerId="ADAL" clId="{3AEBEC2B-30D5-47E6-A75F-2C06BB7F746A}" dt="2023-06-06T18:50:36.153" v="257" actId="1076"/>
          <ac:spMkLst>
            <pc:docMk/>
            <pc:sldMk cId="1626890407" sldId="361"/>
            <ac:spMk id="13" creationId="{084C7927-15E6-AB1A-2FAB-D79F6D582B47}"/>
          </ac:spMkLst>
        </pc:spChg>
        <pc:spChg chg="add del mod">
          <ac:chgData name="Mette Frederiksen" userId="30ccb471-d9ba-46c6-baf4-28b32116df08" providerId="ADAL" clId="{3AEBEC2B-30D5-47E6-A75F-2C06BB7F746A}" dt="2023-06-06T18:49:31.640" v="210" actId="478"/>
          <ac:spMkLst>
            <pc:docMk/>
            <pc:sldMk cId="1626890407" sldId="361"/>
            <ac:spMk id="14" creationId="{F2985239-C29B-DFE0-5D7D-857B90E09734}"/>
          </ac:spMkLst>
        </pc:spChg>
        <pc:spChg chg="add mod">
          <ac:chgData name="Mette Frederiksen" userId="30ccb471-d9ba-46c6-baf4-28b32116df08" providerId="ADAL" clId="{3AEBEC2B-30D5-47E6-A75F-2C06BB7F746A}" dt="2023-06-06T18:50:36.153" v="257" actId="1076"/>
          <ac:spMkLst>
            <pc:docMk/>
            <pc:sldMk cId="1626890407" sldId="361"/>
            <ac:spMk id="15" creationId="{8EE07C9F-AB87-3A14-FBED-478749FB1C00}"/>
          </ac:spMkLst>
        </pc:spChg>
        <pc:spChg chg="add del mod">
          <ac:chgData name="Mette Frederiksen" userId="30ccb471-d9ba-46c6-baf4-28b32116df08" providerId="ADAL" clId="{3AEBEC2B-30D5-47E6-A75F-2C06BB7F746A}" dt="2023-06-06T18:50:30.906" v="256" actId="478"/>
          <ac:spMkLst>
            <pc:docMk/>
            <pc:sldMk cId="1626890407" sldId="361"/>
            <ac:spMk id="16" creationId="{1A41A2E6-CD23-E240-F7B3-914847175F2A}"/>
          </ac:spMkLst>
        </pc:spChg>
        <pc:spChg chg="add mod">
          <ac:chgData name="Mette Frederiksen" userId="30ccb471-d9ba-46c6-baf4-28b32116df08" providerId="ADAL" clId="{3AEBEC2B-30D5-47E6-A75F-2C06BB7F746A}" dt="2023-06-06T18:52:13.567" v="267" actId="14100"/>
          <ac:spMkLst>
            <pc:docMk/>
            <pc:sldMk cId="1626890407" sldId="361"/>
            <ac:spMk id="19" creationId="{504A720E-B02B-2262-98CB-4FA75929CE51}"/>
          </ac:spMkLst>
        </pc:spChg>
        <pc:spChg chg="add mod">
          <ac:chgData name="Mette Frederiksen" userId="30ccb471-d9ba-46c6-baf4-28b32116df08" providerId="ADAL" clId="{3AEBEC2B-30D5-47E6-A75F-2C06BB7F746A}" dt="2023-06-06T18:59:12.774" v="337" actId="1076"/>
          <ac:spMkLst>
            <pc:docMk/>
            <pc:sldMk cId="1626890407" sldId="361"/>
            <ac:spMk id="20" creationId="{A8A8561C-A8B0-DD4B-EC4A-9EBEF9CB17B1}"/>
          </ac:spMkLst>
        </pc:spChg>
        <pc:spChg chg="add mod">
          <ac:chgData name="Mette Frederiksen" userId="30ccb471-d9ba-46c6-baf4-28b32116df08" providerId="ADAL" clId="{3AEBEC2B-30D5-47E6-A75F-2C06BB7F746A}" dt="2023-06-06T18:54:09.565" v="293" actId="1076"/>
          <ac:spMkLst>
            <pc:docMk/>
            <pc:sldMk cId="1626890407" sldId="361"/>
            <ac:spMk id="21" creationId="{1C98E5C2-A2E4-B2E9-3B33-E041824AD96F}"/>
          </ac:spMkLst>
        </pc:spChg>
        <pc:spChg chg="add mod">
          <ac:chgData name="Mette Frederiksen" userId="30ccb471-d9ba-46c6-baf4-28b32116df08" providerId="ADAL" clId="{3AEBEC2B-30D5-47E6-A75F-2C06BB7F746A}" dt="2023-06-06T18:57:01.508" v="313" actId="1076"/>
          <ac:spMkLst>
            <pc:docMk/>
            <pc:sldMk cId="1626890407" sldId="361"/>
            <ac:spMk id="22" creationId="{5DE99FED-2B94-35C0-8948-6DD9BF17E2EC}"/>
          </ac:spMkLst>
        </pc:spChg>
        <pc:spChg chg="add del mod">
          <ac:chgData name="Mette Frederiksen" userId="30ccb471-d9ba-46c6-baf4-28b32116df08" providerId="ADAL" clId="{3AEBEC2B-30D5-47E6-A75F-2C06BB7F746A}" dt="2023-06-06T18:58:09.636" v="325" actId="478"/>
          <ac:spMkLst>
            <pc:docMk/>
            <pc:sldMk cId="1626890407" sldId="361"/>
            <ac:spMk id="25" creationId="{48D385D2-1E9B-17ED-A2A3-551C662F9661}"/>
          </ac:spMkLst>
        </pc:spChg>
        <pc:spChg chg="add del mod">
          <ac:chgData name="Mette Frederiksen" userId="30ccb471-d9ba-46c6-baf4-28b32116df08" providerId="ADAL" clId="{3AEBEC2B-30D5-47E6-A75F-2C06BB7F746A}" dt="2023-06-06T18:58:37.063" v="329" actId="478"/>
          <ac:spMkLst>
            <pc:docMk/>
            <pc:sldMk cId="1626890407" sldId="361"/>
            <ac:spMk id="26" creationId="{E5B28031-422F-7919-E47F-742DC5C91146}"/>
          </ac:spMkLst>
        </pc:spChg>
        <pc:spChg chg="add mod">
          <ac:chgData name="Mette Frederiksen" userId="30ccb471-d9ba-46c6-baf4-28b32116df08" providerId="ADAL" clId="{3AEBEC2B-30D5-47E6-A75F-2C06BB7F746A}" dt="2023-06-06T18:59:08.599" v="336"/>
          <ac:spMkLst>
            <pc:docMk/>
            <pc:sldMk cId="1626890407" sldId="361"/>
            <ac:spMk id="27" creationId="{CA03AEBE-9EB5-F3F2-C132-8294B98AC624}"/>
          </ac:spMkLst>
        </pc:spChg>
        <pc:spChg chg="add del mod">
          <ac:chgData name="Mette Frederiksen" userId="30ccb471-d9ba-46c6-baf4-28b32116df08" providerId="ADAL" clId="{3AEBEC2B-30D5-47E6-A75F-2C06BB7F746A}" dt="2023-06-06T18:59:22.234" v="340" actId="478"/>
          <ac:spMkLst>
            <pc:docMk/>
            <pc:sldMk cId="1626890407" sldId="361"/>
            <ac:spMk id="28" creationId="{BC3643DB-E1DB-38D7-BA83-F7459D69612F}"/>
          </ac:spMkLst>
        </pc:spChg>
        <pc:spChg chg="add mod">
          <ac:chgData name="Mette Frederiksen" userId="30ccb471-d9ba-46c6-baf4-28b32116df08" providerId="ADAL" clId="{3AEBEC2B-30D5-47E6-A75F-2C06BB7F746A}" dt="2023-06-06T19:00:32.746" v="383" actId="1076"/>
          <ac:spMkLst>
            <pc:docMk/>
            <pc:sldMk cId="1626890407" sldId="361"/>
            <ac:spMk id="30" creationId="{400213EF-348A-E31D-D59D-AFE1E8719678}"/>
          </ac:spMkLst>
        </pc:spChg>
        <pc:picChg chg="add mod">
          <ac:chgData name="Mette Frederiksen" userId="30ccb471-d9ba-46c6-baf4-28b32116df08" providerId="ADAL" clId="{3AEBEC2B-30D5-47E6-A75F-2C06BB7F746A}" dt="2023-06-09T08:37:55.258" v="523" actId="962"/>
          <ac:picMkLst>
            <pc:docMk/>
            <pc:sldMk cId="1626890407" sldId="361"/>
            <ac:picMk id="5" creationId="{49365619-FDE7-754D-4A66-889FC7637017}"/>
          </ac:picMkLst>
        </pc:picChg>
        <pc:picChg chg="add del mod">
          <ac:chgData name="Mette Frederiksen" userId="30ccb471-d9ba-46c6-baf4-28b32116df08" providerId="ADAL" clId="{3AEBEC2B-30D5-47E6-A75F-2C06BB7F746A}" dt="2023-06-06T18:35:03.156" v="21" actId="478"/>
          <ac:picMkLst>
            <pc:docMk/>
            <pc:sldMk cId="1626890407" sldId="361"/>
            <ac:picMk id="5" creationId="{4C57D88C-6206-8184-AC33-CFD0B2B07A01}"/>
          </ac:picMkLst>
        </pc:picChg>
        <pc:picChg chg="add mod">
          <ac:chgData name="Mette Frederiksen" userId="30ccb471-d9ba-46c6-baf4-28b32116df08" providerId="ADAL" clId="{3AEBEC2B-30D5-47E6-A75F-2C06BB7F746A}" dt="2023-06-06T18:53:57.239" v="291" actId="1076"/>
          <ac:picMkLst>
            <pc:docMk/>
            <pc:sldMk cId="1626890407" sldId="361"/>
            <ac:picMk id="7" creationId="{0196513D-768D-A632-9F72-C96CD2E85EFC}"/>
          </ac:picMkLst>
        </pc:picChg>
        <pc:picChg chg="add mod">
          <ac:chgData name="Mette Frederiksen" userId="30ccb471-d9ba-46c6-baf4-28b32116df08" providerId="ADAL" clId="{3AEBEC2B-30D5-47E6-A75F-2C06BB7F746A}" dt="2023-06-06T18:50:36.153" v="257" actId="1076"/>
          <ac:picMkLst>
            <pc:docMk/>
            <pc:sldMk cId="1626890407" sldId="361"/>
            <ac:picMk id="9" creationId="{CC5F1866-DE5E-DF02-5E11-8061087CD410}"/>
          </ac:picMkLst>
        </pc:picChg>
        <pc:picChg chg="add mod">
          <ac:chgData name="Mette Frederiksen" userId="30ccb471-d9ba-46c6-baf4-28b32116df08" providerId="ADAL" clId="{3AEBEC2B-30D5-47E6-A75F-2C06BB7F746A}" dt="2023-06-06T18:50:36.153" v="257" actId="1076"/>
          <ac:picMkLst>
            <pc:docMk/>
            <pc:sldMk cId="1626890407" sldId="361"/>
            <ac:picMk id="11" creationId="{606F5833-2913-C0A7-F03A-0042F0042F82}"/>
          </ac:picMkLst>
        </pc:picChg>
        <pc:picChg chg="add mod">
          <ac:chgData name="Mette Frederiksen" userId="30ccb471-d9ba-46c6-baf4-28b32116df08" providerId="ADAL" clId="{3AEBEC2B-30D5-47E6-A75F-2C06BB7F746A}" dt="2023-06-06T18:51:21.744" v="262" actId="1076"/>
          <ac:picMkLst>
            <pc:docMk/>
            <pc:sldMk cId="1626890407" sldId="361"/>
            <ac:picMk id="18" creationId="{D2463AA9-070E-9DAF-40C7-C1269D84E793}"/>
          </ac:picMkLst>
        </pc:picChg>
        <pc:cxnChg chg="add mod">
          <ac:chgData name="Mette Frederiksen" userId="30ccb471-d9ba-46c6-baf4-28b32116df08" providerId="ADAL" clId="{3AEBEC2B-30D5-47E6-A75F-2C06BB7F746A}" dt="2023-06-06T19:00:35.754" v="384" actId="14100"/>
          <ac:cxnSpMkLst>
            <pc:docMk/>
            <pc:sldMk cId="1626890407" sldId="361"/>
            <ac:cxnSpMk id="24" creationId="{C6B63A23-8182-11D0-3289-D4922D1138D1}"/>
          </ac:cxnSpMkLst>
        </pc:cxnChg>
      </pc:sldChg>
      <pc:sldChg chg="addSp delSp modSp new mod delAnim modAnim">
        <pc:chgData name="Mette Frederiksen" userId="30ccb471-d9ba-46c6-baf4-28b32116df08" providerId="ADAL" clId="{3AEBEC2B-30D5-47E6-A75F-2C06BB7F746A}" dt="2023-06-09T15:06:00.307" v="1037" actId="1076"/>
        <pc:sldMkLst>
          <pc:docMk/>
          <pc:sldMk cId="2697687304" sldId="362"/>
        </pc:sldMkLst>
        <pc:spChg chg="del">
          <ac:chgData name="Mette Frederiksen" userId="30ccb471-d9ba-46c6-baf4-28b32116df08" providerId="ADAL" clId="{3AEBEC2B-30D5-47E6-A75F-2C06BB7F746A}" dt="2023-06-06T18:37:16.724" v="52"/>
          <ac:spMkLst>
            <pc:docMk/>
            <pc:sldMk cId="2697687304" sldId="362"/>
            <ac:spMk id="2" creationId="{8AF9C2B7-2F5E-84D9-273D-F50BDC399BA8}"/>
          </ac:spMkLst>
        </pc:spChg>
        <pc:spChg chg="mod">
          <ac:chgData name="Mette Frederiksen" userId="30ccb471-d9ba-46c6-baf4-28b32116df08" providerId="ADAL" clId="{3AEBEC2B-30D5-47E6-A75F-2C06BB7F746A}" dt="2023-06-09T15:04:49.456" v="1029" actId="2711"/>
          <ac:spMkLst>
            <pc:docMk/>
            <pc:sldMk cId="2697687304" sldId="362"/>
            <ac:spMk id="3" creationId="{ACBAA3E3-EEED-9201-74E0-65A3C7D7F93B}"/>
          </ac:spMkLst>
        </pc:spChg>
        <pc:spChg chg="add del mod">
          <ac:chgData name="Mette Frederiksen" userId="30ccb471-d9ba-46c6-baf4-28b32116df08" providerId="ADAL" clId="{3AEBEC2B-30D5-47E6-A75F-2C06BB7F746A}" dt="2023-06-06T18:37:16.724" v="52"/>
          <ac:spMkLst>
            <pc:docMk/>
            <pc:sldMk cId="2697687304" sldId="362"/>
            <ac:spMk id="4" creationId="{B564173E-33A5-900F-93FE-5593A6ABA74D}"/>
          </ac:spMkLst>
        </pc:spChg>
        <pc:spChg chg="add mod">
          <ac:chgData name="Mette Frederiksen" userId="30ccb471-d9ba-46c6-baf4-28b32116df08" providerId="ADAL" clId="{3AEBEC2B-30D5-47E6-A75F-2C06BB7F746A}" dt="2023-06-09T15:04:49.456" v="1029" actId="2711"/>
          <ac:spMkLst>
            <pc:docMk/>
            <pc:sldMk cId="2697687304" sldId="362"/>
            <ac:spMk id="5" creationId="{A0BD00AA-7E93-2C40-EF62-5E1B15AB5D49}"/>
          </ac:spMkLst>
        </pc:spChg>
        <pc:spChg chg="add del mod">
          <ac:chgData name="Mette Frederiksen" userId="30ccb471-d9ba-46c6-baf4-28b32116df08" providerId="ADAL" clId="{3AEBEC2B-30D5-47E6-A75F-2C06BB7F746A}" dt="2023-06-09T12:57:45.833" v="615" actId="478"/>
          <ac:spMkLst>
            <pc:docMk/>
            <pc:sldMk cId="2697687304" sldId="362"/>
            <ac:spMk id="14" creationId="{0113E8E3-4B78-3B71-D2E8-5AB0CBCBF2E6}"/>
          </ac:spMkLst>
        </pc:spChg>
        <pc:spChg chg="add del mod">
          <ac:chgData name="Mette Frederiksen" userId="30ccb471-d9ba-46c6-baf4-28b32116df08" providerId="ADAL" clId="{3AEBEC2B-30D5-47E6-A75F-2C06BB7F746A}" dt="2023-06-09T12:57:47.735" v="616" actId="478"/>
          <ac:spMkLst>
            <pc:docMk/>
            <pc:sldMk cId="2697687304" sldId="362"/>
            <ac:spMk id="15" creationId="{95197CB4-E3AB-747F-5748-1E878F0892BE}"/>
          </ac:spMkLst>
        </pc:spChg>
        <pc:spChg chg="add del mod">
          <ac:chgData name="Mette Frederiksen" userId="30ccb471-d9ba-46c6-baf4-28b32116df08" providerId="ADAL" clId="{3AEBEC2B-30D5-47E6-A75F-2C06BB7F746A}" dt="2023-06-09T12:57:50.991" v="617" actId="478"/>
          <ac:spMkLst>
            <pc:docMk/>
            <pc:sldMk cId="2697687304" sldId="362"/>
            <ac:spMk id="16" creationId="{A9C2889B-FAD7-F5D4-6CF8-96EC7BD8B026}"/>
          </ac:spMkLst>
        </pc:spChg>
        <pc:spChg chg="add mod">
          <ac:chgData name="Mette Frederiksen" userId="30ccb471-d9ba-46c6-baf4-28b32116df08" providerId="ADAL" clId="{3AEBEC2B-30D5-47E6-A75F-2C06BB7F746A}" dt="2023-06-09T15:04:49.456" v="1029" actId="2711"/>
          <ac:spMkLst>
            <pc:docMk/>
            <pc:sldMk cId="2697687304" sldId="362"/>
            <ac:spMk id="22" creationId="{C47FB337-79DC-E917-A43E-9820540E553E}"/>
          </ac:spMkLst>
        </pc:spChg>
        <pc:spChg chg="add mod">
          <ac:chgData name="Mette Frederiksen" userId="30ccb471-d9ba-46c6-baf4-28b32116df08" providerId="ADAL" clId="{3AEBEC2B-30D5-47E6-A75F-2C06BB7F746A}" dt="2023-06-09T15:04:49.456" v="1029" actId="2711"/>
          <ac:spMkLst>
            <pc:docMk/>
            <pc:sldMk cId="2697687304" sldId="362"/>
            <ac:spMk id="23" creationId="{C84B8473-769D-025D-15EB-16C2347E60BF}"/>
          </ac:spMkLst>
        </pc:spChg>
        <pc:spChg chg="add mod">
          <ac:chgData name="Mette Frederiksen" userId="30ccb471-d9ba-46c6-baf4-28b32116df08" providerId="ADAL" clId="{3AEBEC2B-30D5-47E6-A75F-2C06BB7F746A}" dt="2023-06-09T15:04:49.456" v="1029" actId="2711"/>
          <ac:spMkLst>
            <pc:docMk/>
            <pc:sldMk cId="2697687304" sldId="362"/>
            <ac:spMk id="24" creationId="{D13CD4D3-C1CF-5AF4-5812-E0331CA08B4C}"/>
          </ac:spMkLst>
        </pc:spChg>
        <pc:spChg chg="add mod">
          <ac:chgData name="Mette Frederiksen" userId="30ccb471-d9ba-46c6-baf4-28b32116df08" providerId="ADAL" clId="{3AEBEC2B-30D5-47E6-A75F-2C06BB7F746A}" dt="2023-06-09T15:06:00.307" v="1037" actId="1076"/>
          <ac:spMkLst>
            <pc:docMk/>
            <pc:sldMk cId="2697687304" sldId="362"/>
            <ac:spMk id="25" creationId="{B68CFFED-1866-E98D-9010-3D2742852F72}"/>
          </ac:spMkLst>
        </pc:spChg>
        <pc:spChg chg="add mod">
          <ac:chgData name="Mette Frederiksen" userId="30ccb471-d9ba-46c6-baf4-28b32116df08" providerId="ADAL" clId="{3AEBEC2B-30D5-47E6-A75F-2C06BB7F746A}" dt="2023-06-09T15:05:52.852" v="1036" actId="1035"/>
          <ac:spMkLst>
            <pc:docMk/>
            <pc:sldMk cId="2697687304" sldId="362"/>
            <ac:spMk id="26" creationId="{6E7F32D1-2546-E3F5-2C45-59500096F69F}"/>
          </ac:spMkLst>
        </pc:spChg>
        <pc:graphicFrameChg chg="add mod modGraphic">
          <ac:chgData name="Mette Frederiksen" userId="30ccb471-d9ba-46c6-baf4-28b32116df08" providerId="ADAL" clId="{3AEBEC2B-30D5-47E6-A75F-2C06BB7F746A}" dt="2023-06-09T15:05:28.387" v="1031" actId="2711"/>
          <ac:graphicFrameMkLst>
            <pc:docMk/>
            <pc:sldMk cId="2697687304" sldId="362"/>
            <ac:graphicFrameMk id="6" creationId="{8584A313-0A74-4EC8-BFDB-916A6C169E2C}"/>
          </ac:graphicFrameMkLst>
        </pc:graphicFrameChg>
        <pc:picChg chg="add mod">
          <ac:chgData name="Mette Frederiksen" userId="30ccb471-d9ba-46c6-baf4-28b32116df08" providerId="ADAL" clId="{3AEBEC2B-30D5-47E6-A75F-2C06BB7F746A}" dt="2023-06-09T15:04:49.456" v="1029" actId="2711"/>
          <ac:picMkLst>
            <pc:docMk/>
            <pc:sldMk cId="2697687304" sldId="362"/>
            <ac:picMk id="4" creationId="{B7A64947-84EA-A462-E0FE-3561E074F37B}"/>
          </ac:picMkLst>
        </pc:picChg>
        <pc:picChg chg="add mod">
          <ac:chgData name="Mette Frederiksen" userId="30ccb471-d9ba-46c6-baf4-28b32116df08" providerId="ADAL" clId="{3AEBEC2B-30D5-47E6-A75F-2C06BB7F746A}" dt="2023-06-09T15:04:49.456" v="1029" actId="2711"/>
          <ac:picMkLst>
            <pc:docMk/>
            <pc:sldMk cId="2697687304" sldId="362"/>
            <ac:picMk id="7" creationId="{68B70A12-5B08-1313-E0ED-FC42D0731734}"/>
          </ac:picMkLst>
        </pc:picChg>
        <pc:picChg chg="add del mod">
          <ac:chgData name="Mette Frederiksen" userId="30ccb471-d9ba-46c6-baf4-28b32116df08" providerId="ADAL" clId="{3AEBEC2B-30D5-47E6-A75F-2C06BB7F746A}" dt="2023-06-09T08:35:40.671" v="501" actId="478"/>
          <ac:picMkLst>
            <pc:docMk/>
            <pc:sldMk cId="2697687304" sldId="362"/>
            <ac:picMk id="8" creationId="{A08C1CBC-ED03-3492-7824-5527A1BEBEF2}"/>
          </ac:picMkLst>
        </pc:picChg>
        <pc:picChg chg="add del mod">
          <ac:chgData name="Mette Frederiksen" userId="30ccb471-d9ba-46c6-baf4-28b32116df08" providerId="ADAL" clId="{3AEBEC2B-30D5-47E6-A75F-2C06BB7F746A}" dt="2023-06-09T08:36:55.716" v="513" actId="478"/>
          <ac:picMkLst>
            <pc:docMk/>
            <pc:sldMk cId="2697687304" sldId="362"/>
            <ac:picMk id="9" creationId="{FF4DF616-CF16-4A12-7B27-9FA826E39432}"/>
          </ac:picMkLst>
        </pc:picChg>
        <pc:picChg chg="add mod">
          <ac:chgData name="Mette Frederiksen" userId="30ccb471-d9ba-46c6-baf4-28b32116df08" providerId="ADAL" clId="{3AEBEC2B-30D5-47E6-A75F-2C06BB7F746A}" dt="2023-06-09T15:04:49.456" v="1029" actId="2711"/>
          <ac:picMkLst>
            <pc:docMk/>
            <pc:sldMk cId="2697687304" sldId="362"/>
            <ac:picMk id="11" creationId="{BDBB0581-5ED8-3192-C94B-5E4ABB48A453}"/>
          </ac:picMkLst>
        </pc:picChg>
        <pc:picChg chg="add mod">
          <ac:chgData name="Mette Frederiksen" userId="30ccb471-d9ba-46c6-baf4-28b32116df08" providerId="ADAL" clId="{3AEBEC2B-30D5-47E6-A75F-2C06BB7F746A}" dt="2023-06-09T15:04:49.456" v="1029" actId="2711"/>
          <ac:picMkLst>
            <pc:docMk/>
            <pc:sldMk cId="2697687304" sldId="362"/>
            <ac:picMk id="13" creationId="{722C6384-01AD-CA43-BA41-791AAEA700B6}"/>
          </ac:picMkLst>
        </pc:picChg>
        <pc:cxnChg chg="add mod">
          <ac:chgData name="Mette Frederiksen" userId="30ccb471-d9ba-46c6-baf4-28b32116df08" providerId="ADAL" clId="{3AEBEC2B-30D5-47E6-A75F-2C06BB7F746A}" dt="2023-06-09T15:04:49.456" v="1029" actId="2711"/>
          <ac:cxnSpMkLst>
            <pc:docMk/>
            <pc:sldMk cId="2697687304" sldId="362"/>
            <ac:cxnSpMk id="18" creationId="{5DAE3C7C-E9AD-1B1A-A1D2-D9E7051AA3A4}"/>
          </ac:cxnSpMkLst>
        </pc:cxnChg>
        <pc:cxnChg chg="add mod">
          <ac:chgData name="Mette Frederiksen" userId="30ccb471-d9ba-46c6-baf4-28b32116df08" providerId="ADAL" clId="{3AEBEC2B-30D5-47E6-A75F-2C06BB7F746A}" dt="2023-06-09T15:04:49.456" v="1029" actId="2711"/>
          <ac:cxnSpMkLst>
            <pc:docMk/>
            <pc:sldMk cId="2697687304" sldId="362"/>
            <ac:cxnSpMk id="19" creationId="{9BCDEFD9-E6B9-D632-117A-F124A2CAD08A}"/>
          </ac:cxnSpMkLst>
        </pc:cxnChg>
        <pc:cxnChg chg="add mod">
          <ac:chgData name="Mette Frederiksen" userId="30ccb471-d9ba-46c6-baf4-28b32116df08" providerId="ADAL" clId="{3AEBEC2B-30D5-47E6-A75F-2C06BB7F746A}" dt="2023-06-09T15:04:49.456" v="1029" actId="2711"/>
          <ac:cxnSpMkLst>
            <pc:docMk/>
            <pc:sldMk cId="2697687304" sldId="362"/>
            <ac:cxnSpMk id="20" creationId="{BE5FE988-095C-76E8-BA36-248BE31B59A9}"/>
          </ac:cxnSpMkLst>
        </pc:cxnChg>
        <pc:cxnChg chg="add mod">
          <ac:chgData name="Mette Frederiksen" userId="30ccb471-d9ba-46c6-baf4-28b32116df08" providerId="ADAL" clId="{3AEBEC2B-30D5-47E6-A75F-2C06BB7F746A}" dt="2023-06-09T15:04:49.456" v="1029" actId="2711"/>
          <ac:cxnSpMkLst>
            <pc:docMk/>
            <pc:sldMk cId="2697687304" sldId="362"/>
            <ac:cxnSpMk id="21" creationId="{011C88FF-C4B6-EA28-09D3-4DA6009CA568}"/>
          </ac:cxnSpMkLst>
        </pc:cxnChg>
      </pc:sldChg>
      <pc:sldChg chg="add del">
        <pc:chgData name="Mette Frederiksen" userId="30ccb471-d9ba-46c6-baf4-28b32116df08" providerId="ADAL" clId="{3AEBEC2B-30D5-47E6-A75F-2C06BB7F746A}" dt="2023-06-09T13:17:03.514" v="828" actId="47"/>
        <pc:sldMkLst>
          <pc:docMk/>
          <pc:sldMk cId="2182727585" sldId="363"/>
        </pc:sldMkLst>
      </pc:sldChg>
      <pc:sldMasterChg chg="modSp mod">
        <pc:chgData name="Mette Frederiksen" userId="30ccb471-d9ba-46c6-baf4-28b32116df08" providerId="ADAL" clId="{3AEBEC2B-30D5-47E6-A75F-2C06BB7F746A}" dt="2023-06-09T13:26:42.832" v="938" actId="1076"/>
        <pc:sldMasterMkLst>
          <pc:docMk/>
          <pc:sldMasterMk cId="533324797" sldId="2147483648"/>
        </pc:sldMasterMkLst>
        <pc:cxnChg chg="mod">
          <ac:chgData name="Mette Frederiksen" userId="30ccb471-d9ba-46c6-baf4-28b32116df08" providerId="ADAL" clId="{3AEBEC2B-30D5-47E6-A75F-2C06BB7F746A}" dt="2023-06-09T13:26:42.832" v="938" actId="1076"/>
          <ac:cxnSpMkLst>
            <pc:docMk/>
            <pc:sldMasterMk cId="533324797" sldId="2147483648"/>
            <ac:cxnSpMk id="9" creationId="{00000000-0000-0000-0000-000000000000}"/>
          </ac:cxnSpMkLst>
        </pc:cxnChg>
      </pc:sldMasterChg>
    </pc:docChg>
  </pc:docChgLst>
  <pc:docChgLst>
    <pc:chgData name="Mette Frederiksen" userId="30ccb471-d9ba-46c6-baf4-28b32116df08" providerId="ADAL" clId="{31A2F0CA-DEDE-434B-9E5A-C7D1121D1A8F}"/>
    <pc:docChg chg="undo custSel addSld delSld modSld">
      <pc:chgData name="Mette Frederiksen" userId="30ccb471-d9ba-46c6-baf4-28b32116df08" providerId="ADAL" clId="{31A2F0CA-DEDE-434B-9E5A-C7D1121D1A8F}" dt="2023-06-06T10:54:00.149" v="1191" actId="20577"/>
      <pc:docMkLst>
        <pc:docMk/>
      </pc:docMkLst>
      <pc:sldChg chg="addSp delSp modSp add del mod">
        <pc:chgData name="Mette Frederiksen" userId="30ccb471-d9ba-46c6-baf4-28b32116df08" providerId="ADAL" clId="{31A2F0CA-DEDE-434B-9E5A-C7D1121D1A8F}" dt="2023-06-06T10:53:25.252" v="1190" actId="47"/>
        <pc:sldMkLst>
          <pc:docMk/>
          <pc:sldMk cId="1622153653" sldId="327"/>
        </pc:sldMkLst>
        <pc:spChg chg="mod">
          <ac:chgData name="Mette Frederiksen" userId="30ccb471-d9ba-46c6-baf4-28b32116df08" providerId="ADAL" clId="{31A2F0CA-DEDE-434B-9E5A-C7D1121D1A8F}" dt="2023-06-06T09:52:03.359" v="61" actId="20577"/>
          <ac:spMkLst>
            <pc:docMk/>
            <pc:sldMk cId="1622153653" sldId="327"/>
            <ac:spMk id="7" creationId="{00000000-0000-0000-0000-000000000000}"/>
          </ac:spMkLst>
        </pc:spChg>
        <pc:picChg chg="del">
          <ac:chgData name="Mette Frederiksen" userId="30ccb471-d9ba-46c6-baf4-28b32116df08" providerId="ADAL" clId="{31A2F0CA-DEDE-434B-9E5A-C7D1121D1A8F}" dt="2023-06-06T10:51:21.454" v="1090" actId="478"/>
          <ac:picMkLst>
            <pc:docMk/>
            <pc:sldMk cId="1622153653" sldId="327"/>
            <ac:picMk id="3" creationId="{00000000-0000-0000-0000-000000000000}"/>
          </ac:picMkLst>
        </pc:picChg>
        <pc:picChg chg="add mod ord">
          <ac:chgData name="Mette Frederiksen" userId="30ccb471-d9ba-46c6-baf4-28b32116df08" providerId="ADAL" clId="{31A2F0CA-DEDE-434B-9E5A-C7D1121D1A8F}" dt="2023-06-06T10:51:32.556" v="1095" actId="14100"/>
          <ac:picMkLst>
            <pc:docMk/>
            <pc:sldMk cId="1622153653" sldId="327"/>
            <ac:picMk id="4" creationId="{4DA84902-B29C-C91C-EDBE-CE71358A835C}"/>
          </ac:picMkLst>
        </pc:picChg>
      </pc:sldChg>
      <pc:sldChg chg="delSp mod">
        <pc:chgData name="Mette Frederiksen" userId="30ccb471-d9ba-46c6-baf4-28b32116df08" providerId="ADAL" clId="{31A2F0CA-DEDE-434B-9E5A-C7D1121D1A8F}" dt="2023-06-06T10:51:03.685" v="1089" actId="478"/>
        <pc:sldMkLst>
          <pc:docMk/>
          <pc:sldMk cId="2410003394" sldId="334"/>
        </pc:sldMkLst>
        <pc:spChg chg="del">
          <ac:chgData name="Mette Frederiksen" userId="30ccb471-d9ba-46c6-baf4-28b32116df08" providerId="ADAL" clId="{31A2F0CA-DEDE-434B-9E5A-C7D1121D1A8F}" dt="2023-06-06T10:51:00.957" v="1088" actId="478"/>
          <ac:spMkLst>
            <pc:docMk/>
            <pc:sldMk cId="2410003394" sldId="334"/>
            <ac:spMk id="3" creationId="{FF815844-D101-A45B-8692-3D068E3AFA75}"/>
          </ac:spMkLst>
        </pc:spChg>
        <pc:picChg chg="del">
          <ac:chgData name="Mette Frederiksen" userId="30ccb471-d9ba-46c6-baf4-28b32116df08" providerId="ADAL" clId="{31A2F0CA-DEDE-434B-9E5A-C7D1121D1A8F}" dt="2023-06-06T10:51:03.685" v="1089" actId="478"/>
          <ac:picMkLst>
            <pc:docMk/>
            <pc:sldMk cId="2410003394" sldId="334"/>
            <ac:picMk id="8" creationId="{00000000-0000-0000-0000-000000000000}"/>
          </ac:picMkLst>
        </pc:picChg>
      </pc:sldChg>
      <pc:sldChg chg="del">
        <pc:chgData name="Mette Frederiksen" userId="30ccb471-d9ba-46c6-baf4-28b32116df08" providerId="ADAL" clId="{31A2F0CA-DEDE-434B-9E5A-C7D1121D1A8F}" dt="2023-06-06T10:50:56.372" v="1087" actId="47"/>
        <pc:sldMkLst>
          <pc:docMk/>
          <pc:sldMk cId="1151906053" sldId="335"/>
        </pc:sldMkLst>
      </pc:sldChg>
      <pc:sldChg chg="del">
        <pc:chgData name="Mette Frederiksen" userId="30ccb471-d9ba-46c6-baf4-28b32116df08" providerId="ADAL" clId="{31A2F0CA-DEDE-434B-9E5A-C7D1121D1A8F}" dt="2023-06-06T10:50:56.372" v="1087" actId="47"/>
        <pc:sldMkLst>
          <pc:docMk/>
          <pc:sldMk cId="2228417934" sldId="336"/>
        </pc:sldMkLst>
      </pc:sldChg>
      <pc:sldChg chg="del">
        <pc:chgData name="Mette Frederiksen" userId="30ccb471-d9ba-46c6-baf4-28b32116df08" providerId="ADAL" clId="{31A2F0CA-DEDE-434B-9E5A-C7D1121D1A8F}" dt="2023-06-06T10:50:56.372" v="1087" actId="47"/>
        <pc:sldMkLst>
          <pc:docMk/>
          <pc:sldMk cId="4184067396" sldId="340"/>
        </pc:sldMkLst>
      </pc:sldChg>
      <pc:sldChg chg="del">
        <pc:chgData name="Mette Frederiksen" userId="30ccb471-d9ba-46c6-baf4-28b32116df08" providerId="ADAL" clId="{31A2F0CA-DEDE-434B-9E5A-C7D1121D1A8F}" dt="2023-06-06T10:50:56.372" v="1087" actId="47"/>
        <pc:sldMkLst>
          <pc:docMk/>
          <pc:sldMk cId="1904400427" sldId="350"/>
        </pc:sldMkLst>
      </pc:sldChg>
      <pc:sldChg chg="del">
        <pc:chgData name="Mette Frederiksen" userId="30ccb471-d9ba-46c6-baf4-28b32116df08" providerId="ADAL" clId="{31A2F0CA-DEDE-434B-9E5A-C7D1121D1A8F}" dt="2023-06-06T10:50:56.372" v="1087" actId="47"/>
        <pc:sldMkLst>
          <pc:docMk/>
          <pc:sldMk cId="2738899613" sldId="351"/>
        </pc:sldMkLst>
      </pc:sldChg>
      <pc:sldChg chg="del">
        <pc:chgData name="Mette Frederiksen" userId="30ccb471-d9ba-46c6-baf4-28b32116df08" providerId="ADAL" clId="{31A2F0CA-DEDE-434B-9E5A-C7D1121D1A8F}" dt="2023-06-06T10:50:56.372" v="1087" actId="47"/>
        <pc:sldMkLst>
          <pc:docMk/>
          <pc:sldMk cId="3524169692" sldId="353"/>
        </pc:sldMkLst>
      </pc:sldChg>
      <pc:sldChg chg="del">
        <pc:chgData name="Mette Frederiksen" userId="30ccb471-d9ba-46c6-baf4-28b32116df08" providerId="ADAL" clId="{31A2F0CA-DEDE-434B-9E5A-C7D1121D1A8F}" dt="2023-06-06T10:50:56.372" v="1087" actId="47"/>
        <pc:sldMkLst>
          <pc:docMk/>
          <pc:sldMk cId="3233290939" sldId="355"/>
        </pc:sldMkLst>
      </pc:sldChg>
      <pc:sldChg chg="addSp delSp modSp new mod modClrScheme chgLayout">
        <pc:chgData name="Mette Frederiksen" userId="30ccb471-d9ba-46c6-baf4-28b32116df08" providerId="ADAL" clId="{31A2F0CA-DEDE-434B-9E5A-C7D1121D1A8F}" dt="2023-06-06T10:38:28.255" v="431"/>
        <pc:sldMkLst>
          <pc:docMk/>
          <pc:sldMk cId="356920626" sldId="356"/>
        </pc:sldMkLst>
        <pc:spChg chg="mod ord">
          <ac:chgData name="Mette Frederiksen" userId="30ccb471-d9ba-46c6-baf4-28b32116df08" providerId="ADAL" clId="{31A2F0CA-DEDE-434B-9E5A-C7D1121D1A8F}" dt="2023-06-06T09:54:06.648" v="91" actId="700"/>
          <ac:spMkLst>
            <pc:docMk/>
            <pc:sldMk cId="356920626" sldId="356"/>
            <ac:spMk id="2" creationId="{232ED3E4-157A-AE13-7484-0133F4CB0CD4}"/>
          </ac:spMkLst>
        </pc:spChg>
        <pc:spChg chg="mod ord">
          <ac:chgData name="Mette Frederiksen" userId="30ccb471-d9ba-46c6-baf4-28b32116df08" providerId="ADAL" clId="{31A2F0CA-DEDE-434B-9E5A-C7D1121D1A8F}" dt="2023-06-06T09:54:06.648" v="91" actId="700"/>
          <ac:spMkLst>
            <pc:docMk/>
            <pc:sldMk cId="356920626" sldId="356"/>
            <ac:spMk id="3" creationId="{5C59B4BA-AD68-936A-BC50-C2019AB550B1}"/>
          </ac:spMkLst>
        </pc:spChg>
        <pc:spChg chg="add mod ord">
          <ac:chgData name="Mette Frederiksen" userId="30ccb471-d9ba-46c6-baf4-28b32116df08" providerId="ADAL" clId="{31A2F0CA-DEDE-434B-9E5A-C7D1121D1A8F}" dt="2023-06-06T09:58:27.781" v="429" actId="20577"/>
          <ac:spMkLst>
            <pc:docMk/>
            <pc:sldMk cId="356920626" sldId="356"/>
            <ac:spMk id="4" creationId="{BDD10712-79D1-57CA-E82C-30E89567D569}"/>
          </ac:spMkLst>
        </pc:spChg>
        <pc:graphicFrameChg chg="add del mod">
          <ac:chgData name="Mette Frederiksen" userId="30ccb471-d9ba-46c6-baf4-28b32116df08" providerId="ADAL" clId="{31A2F0CA-DEDE-434B-9E5A-C7D1121D1A8F}" dt="2023-06-06T10:38:28.255" v="431"/>
          <ac:graphicFrameMkLst>
            <pc:docMk/>
            <pc:sldMk cId="356920626" sldId="356"/>
            <ac:graphicFrameMk id="5" creationId="{9A4355A2-3E36-F86D-585A-CCC09D416DF4}"/>
          </ac:graphicFrameMkLst>
        </pc:graphicFrameChg>
      </pc:sldChg>
      <pc:sldChg chg="addSp modSp new mod modClrScheme chgLayout">
        <pc:chgData name="Mette Frederiksen" userId="30ccb471-d9ba-46c6-baf4-28b32116df08" providerId="ADAL" clId="{31A2F0CA-DEDE-434B-9E5A-C7D1121D1A8F}" dt="2023-06-06T10:47:30.663" v="754" actId="20577"/>
        <pc:sldMkLst>
          <pc:docMk/>
          <pc:sldMk cId="1503092843" sldId="357"/>
        </pc:sldMkLst>
        <pc:spChg chg="mod ord">
          <ac:chgData name="Mette Frederiksen" userId="30ccb471-d9ba-46c6-baf4-28b32116df08" providerId="ADAL" clId="{31A2F0CA-DEDE-434B-9E5A-C7D1121D1A8F}" dt="2023-06-06T10:38:50.656" v="472" actId="700"/>
          <ac:spMkLst>
            <pc:docMk/>
            <pc:sldMk cId="1503092843" sldId="357"/>
            <ac:spMk id="2" creationId="{5CB5F1F6-F924-6436-ED9B-F0E9E8D41581}"/>
          </ac:spMkLst>
        </pc:spChg>
        <pc:spChg chg="mod ord">
          <ac:chgData name="Mette Frederiksen" userId="30ccb471-d9ba-46c6-baf4-28b32116df08" providerId="ADAL" clId="{31A2F0CA-DEDE-434B-9E5A-C7D1121D1A8F}" dt="2023-06-06T10:38:50.656" v="472" actId="700"/>
          <ac:spMkLst>
            <pc:docMk/>
            <pc:sldMk cId="1503092843" sldId="357"/>
            <ac:spMk id="3" creationId="{54F5EBA1-E7F6-39A4-A1CD-6585A7D25A59}"/>
          </ac:spMkLst>
        </pc:spChg>
        <pc:spChg chg="add mod ord">
          <ac:chgData name="Mette Frederiksen" userId="30ccb471-d9ba-46c6-baf4-28b32116df08" providerId="ADAL" clId="{31A2F0CA-DEDE-434B-9E5A-C7D1121D1A8F}" dt="2023-06-06T10:47:30.663" v="754" actId="20577"/>
          <ac:spMkLst>
            <pc:docMk/>
            <pc:sldMk cId="1503092843" sldId="357"/>
            <ac:spMk id="4" creationId="{F412CEE5-BF8A-33C6-BA75-5FF5D2F1C7BA}"/>
          </ac:spMkLst>
        </pc:spChg>
      </pc:sldChg>
      <pc:sldChg chg="addSp modSp new mod modClrScheme chgLayout">
        <pc:chgData name="Mette Frederiksen" userId="30ccb471-d9ba-46c6-baf4-28b32116df08" providerId="ADAL" clId="{31A2F0CA-DEDE-434B-9E5A-C7D1121D1A8F}" dt="2023-06-06T10:49:55.182" v="1086" actId="20577"/>
        <pc:sldMkLst>
          <pc:docMk/>
          <pc:sldMk cId="1597798346" sldId="358"/>
        </pc:sldMkLst>
        <pc:spChg chg="mod ord">
          <ac:chgData name="Mette Frederiksen" userId="30ccb471-d9ba-46c6-baf4-28b32116df08" providerId="ADAL" clId="{31A2F0CA-DEDE-434B-9E5A-C7D1121D1A8F}" dt="2023-06-06T10:47:52.327" v="776" actId="700"/>
          <ac:spMkLst>
            <pc:docMk/>
            <pc:sldMk cId="1597798346" sldId="358"/>
            <ac:spMk id="2" creationId="{CFE9D8AB-A718-4453-6189-6E0EC3DD2022}"/>
          </ac:spMkLst>
        </pc:spChg>
        <pc:spChg chg="mod ord">
          <ac:chgData name="Mette Frederiksen" userId="30ccb471-d9ba-46c6-baf4-28b32116df08" providerId="ADAL" clId="{31A2F0CA-DEDE-434B-9E5A-C7D1121D1A8F}" dt="2023-06-06T10:47:52.327" v="776" actId="700"/>
          <ac:spMkLst>
            <pc:docMk/>
            <pc:sldMk cId="1597798346" sldId="358"/>
            <ac:spMk id="3" creationId="{23A3A2A8-1CC1-1798-CFEE-CE8E073992B2}"/>
          </ac:spMkLst>
        </pc:spChg>
        <pc:spChg chg="add mod ord">
          <ac:chgData name="Mette Frederiksen" userId="30ccb471-d9ba-46c6-baf4-28b32116df08" providerId="ADAL" clId="{31A2F0CA-DEDE-434B-9E5A-C7D1121D1A8F}" dt="2023-06-06T10:49:55.182" v="1086" actId="20577"/>
          <ac:spMkLst>
            <pc:docMk/>
            <pc:sldMk cId="1597798346" sldId="358"/>
            <ac:spMk id="4" creationId="{6B89332C-84B1-B1A2-DF44-7E21860712F7}"/>
          </ac:spMkLst>
        </pc:spChg>
      </pc:sldChg>
      <pc:sldChg chg="new">
        <pc:chgData name="Mette Frederiksen" userId="30ccb471-d9ba-46c6-baf4-28b32116df08" providerId="ADAL" clId="{31A2F0CA-DEDE-434B-9E5A-C7D1121D1A8F}" dt="2023-06-06T10:47:47.963" v="775" actId="680"/>
        <pc:sldMkLst>
          <pc:docMk/>
          <pc:sldMk cId="2986552828" sldId="359"/>
        </pc:sldMkLst>
      </pc:sldChg>
      <pc:sldChg chg="addSp delSp modSp add mod">
        <pc:chgData name="Mette Frederiksen" userId="30ccb471-d9ba-46c6-baf4-28b32116df08" providerId="ADAL" clId="{31A2F0CA-DEDE-434B-9E5A-C7D1121D1A8F}" dt="2023-06-06T10:54:00.149" v="1191" actId="20577"/>
        <pc:sldMkLst>
          <pc:docMk/>
          <pc:sldMk cId="1974884368" sldId="360"/>
        </pc:sldMkLst>
        <pc:spChg chg="mod">
          <ac:chgData name="Mette Frederiksen" userId="30ccb471-d9ba-46c6-baf4-28b32116df08" providerId="ADAL" clId="{31A2F0CA-DEDE-434B-9E5A-C7D1121D1A8F}" dt="2023-06-06T10:54:00.149" v="1191" actId="20577"/>
          <ac:spMkLst>
            <pc:docMk/>
            <pc:sldMk cId="1974884368" sldId="360"/>
            <ac:spMk id="7" creationId="{00000000-0000-0000-0000-000000000000}"/>
          </ac:spMkLst>
        </pc:spChg>
        <pc:picChg chg="add del">
          <ac:chgData name="Mette Frederiksen" userId="30ccb471-d9ba-46c6-baf4-28b32116df08" providerId="ADAL" clId="{31A2F0CA-DEDE-434B-9E5A-C7D1121D1A8F}" dt="2023-06-06T10:53:21.501" v="1189" actId="478"/>
          <ac:picMkLst>
            <pc:docMk/>
            <pc:sldMk cId="1974884368" sldId="360"/>
            <ac:picMk id="9" creationId="{EFA0FD08-ACF8-E547-9F1E-CE2AAEEA2DA8}"/>
          </ac:picMkLst>
        </pc:picChg>
      </pc:sldChg>
    </pc:docChg>
  </pc:docChgLst>
  <pc:docChgLst>
    <pc:chgData name="Mette Frederiksen" userId="30ccb471-d9ba-46c6-baf4-28b32116df08" providerId="ADAL" clId="{654A47D1-BD43-4E5D-B73A-ECD78F828C37}"/>
    <pc:docChg chg="undo custSel addSld delSld modSld sldOrd">
      <pc:chgData name="Mette Frederiksen" userId="30ccb471-d9ba-46c6-baf4-28b32116df08" providerId="ADAL" clId="{654A47D1-BD43-4E5D-B73A-ECD78F828C37}" dt="2023-03-14T12:11:01.282" v="186" actId="1035"/>
      <pc:docMkLst>
        <pc:docMk/>
      </pc:docMkLst>
      <pc:sldChg chg="del">
        <pc:chgData name="Mette Frederiksen" userId="30ccb471-d9ba-46c6-baf4-28b32116df08" providerId="ADAL" clId="{654A47D1-BD43-4E5D-B73A-ECD78F828C37}" dt="2023-03-14T12:08:03.906" v="181" actId="47"/>
        <pc:sldMkLst>
          <pc:docMk/>
          <pc:sldMk cId="2207584198" sldId="275"/>
        </pc:sldMkLst>
      </pc:sldChg>
      <pc:sldChg chg="addSp modSp mod">
        <pc:chgData name="Mette Frederiksen" userId="30ccb471-d9ba-46c6-baf4-28b32116df08" providerId="ADAL" clId="{654A47D1-BD43-4E5D-B73A-ECD78F828C37}" dt="2023-03-14T12:11:01.282" v="186" actId="1035"/>
        <pc:sldMkLst>
          <pc:docMk/>
          <pc:sldMk cId="2410003394" sldId="334"/>
        </pc:sldMkLst>
        <pc:spChg chg="add mod">
          <ac:chgData name="Mette Frederiksen" userId="30ccb471-d9ba-46c6-baf4-28b32116df08" providerId="ADAL" clId="{654A47D1-BD43-4E5D-B73A-ECD78F828C37}" dt="2023-03-14T12:11:01.282" v="186" actId="1035"/>
          <ac:spMkLst>
            <pc:docMk/>
            <pc:sldMk cId="2410003394" sldId="334"/>
            <ac:spMk id="3" creationId="{FF815844-D101-A45B-8692-3D068E3AFA75}"/>
          </ac:spMkLst>
        </pc:spChg>
        <pc:picChg chg="mod modCrop">
          <ac:chgData name="Mette Frederiksen" userId="30ccb471-d9ba-46c6-baf4-28b32116df08" providerId="ADAL" clId="{654A47D1-BD43-4E5D-B73A-ECD78F828C37}" dt="2023-03-14T12:10:54.931" v="182" actId="732"/>
          <ac:picMkLst>
            <pc:docMk/>
            <pc:sldMk cId="2410003394" sldId="334"/>
            <ac:picMk id="5" creationId="{00000000-0000-0000-0000-000000000000}"/>
          </ac:picMkLst>
        </pc:picChg>
      </pc:sldChg>
      <pc:sldChg chg="modSp mod">
        <pc:chgData name="Mette Frederiksen" userId="30ccb471-d9ba-46c6-baf4-28b32116df08" providerId="ADAL" clId="{654A47D1-BD43-4E5D-B73A-ECD78F828C37}" dt="2023-02-27T10:58:51.214" v="13" actId="20577"/>
        <pc:sldMkLst>
          <pc:docMk/>
          <pc:sldMk cId="3130920926" sldId="338"/>
        </pc:sldMkLst>
        <pc:spChg chg="mod">
          <ac:chgData name="Mette Frederiksen" userId="30ccb471-d9ba-46c6-baf4-28b32116df08" providerId="ADAL" clId="{654A47D1-BD43-4E5D-B73A-ECD78F828C37}" dt="2023-02-27T10:58:29.905" v="5" actId="20577"/>
          <ac:spMkLst>
            <pc:docMk/>
            <pc:sldMk cId="3130920926" sldId="338"/>
            <ac:spMk id="3" creationId="{00000000-0000-0000-0000-000000000000}"/>
          </ac:spMkLst>
        </pc:spChg>
        <pc:graphicFrameChg chg="mod">
          <ac:chgData name="Mette Frederiksen" userId="30ccb471-d9ba-46c6-baf4-28b32116df08" providerId="ADAL" clId="{654A47D1-BD43-4E5D-B73A-ECD78F828C37}" dt="2023-02-27T10:58:51.214" v="13" actId="20577"/>
          <ac:graphicFrameMkLst>
            <pc:docMk/>
            <pc:sldMk cId="3130920926" sldId="338"/>
            <ac:graphicFrameMk id="6" creationId="{00000000-0000-0000-0000-000000000000}"/>
          </ac:graphicFrameMkLst>
        </pc:graphicFrameChg>
      </pc:sldChg>
      <pc:sldChg chg="modSp mod">
        <pc:chgData name="Mette Frederiksen" userId="30ccb471-d9ba-46c6-baf4-28b32116df08" providerId="ADAL" clId="{654A47D1-BD43-4E5D-B73A-ECD78F828C37}" dt="2023-02-27T10:59:31.436" v="15" actId="14100"/>
        <pc:sldMkLst>
          <pc:docMk/>
          <pc:sldMk cId="262456113" sldId="339"/>
        </pc:sldMkLst>
        <pc:spChg chg="mod">
          <ac:chgData name="Mette Frederiksen" userId="30ccb471-d9ba-46c6-baf4-28b32116df08" providerId="ADAL" clId="{654A47D1-BD43-4E5D-B73A-ECD78F828C37}" dt="2023-02-27T10:59:31.436" v="15" actId="14100"/>
          <ac:spMkLst>
            <pc:docMk/>
            <pc:sldMk cId="262456113" sldId="339"/>
            <ac:spMk id="4" creationId="{00000000-0000-0000-0000-000000000000}"/>
          </ac:spMkLst>
        </pc:spChg>
        <pc:spChg chg="mod">
          <ac:chgData name="Mette Frederiksen" userId="30ccb471-d9ba-46c6-baf4-28b32116df08" providerId="ADAL" clId="{654A47D1-BD43-4E5D-B73A-ECD78F828C37}" dt="2023-02-27T10:59:26.924" v="14" actId="1076"/>
          <ac:spMkLst>
            <pc:docMk/>
            <pc:sldMk cId="262456113" sldId="339"/>
            <ac:spMk id="31" creationId="{00000000-0000-0000-0000-000000000000}"/>
          </ac:spMkLst>
        </pc:spChg>
      </pc:sldChg>
      <pc:sldChg chg="addSp delSp modSp mod">
        <pc:chgData name="Mette Frederiksen" userId="30ccb471-d9ba-46c6-baf4-28b32116df08" providerId="ADAL" clId="{654A47D1-BD43-4E5D-B73A-ECD78F828C37}" dt="2023-02-27T11:31:20.232" v="87" actId="404"/>
        <pc:sldMkLst>
          <pc:docMk/>
          <pc:sldMk cId="4184067396" sldId="340"/>
        </pc:sldMkLst>
        <pc:spChg chg="add mod">
          <ac:chgData name="Mette Frederiksen" userId="30ccb471-d9ba-46c6-baf4-28b32116df08" providerId="ADAL" clId="{654A47D1-BD43-4E5D-B73A-ECD78F828C37}" dt="2023-02-27T11:31:20.232" v="87" actId="404"/>
          <ac:spMkLst>
            <pc:docMk/>
            <pc:sldMk cId="4184067396" sldId="340"/>
            <ac:spMk id="9" creationId="{FA8F2157-F584-1FF9-9CA2-5CE727BAD31B}"/>
          </ac:spMkLst>
        </pc:spChg>
        <pc:picChg chg="mod ord">
          <ac:chgData name="Mette Frederiksen" userId="30ccb471-d9ba-46c6-baf4-28b32116df08" providerId="ADAL" clId="{654A47D1-BD43-4E5D-B73A-ECD78F828C37}" dt="2023-02-27T11:30:24.462" v="26" actId="1037"/>
          <ac:picMkLst>
            <pc:docMk/>
            <pc:sldMk cId="4184067396" sldId="340"/>
            <ac:picMk id="6" creationId="{00000000-0000-0000-0000-000000000000}"/>
          </ac:picMkLst>
        </pc:picChg>
        <pc:picChg chg="del">
          <ac:chgData name="Mette Frederiksen" userId="30ccb471-d9ba-46c6-baf4-28b32116df08" providerId="ADAL" clId="{654A47D1-BD43-4E5D-B73A-ECD78F828C37}" dt="2023-02-27T11:28:52.702" v="16" actId="478"/>
          <ac:picMkLst>
            <pc:docMk/>
            <pc:sldMk cId="4184067396" sldId="340"/>
            <ac:picMk id="7" creationId="{00000000-0000-0000-0000-000000000000}"/>
          </ac:picMkLst>
        </pc:picChg>
        <pc:picChg chg="add mod ord">
          <ac:chgData name="Mette Frederiksen" userId="30ccb471-d9ba-46c6-baf4-28b32116df08" providerId="ADAL" clId="{654A47D1-BD43-4E5D-B73A-ECD78F828C37}" dt="2023-02-27T11:30:17.168" v="21" actId="1076"/>
          <ac:picMkLst>
            <pc:docMk/>
            <pc:sldMk cId="4184067396" sldId="340"/>
            <ac:picMk id="8" creationId="{EB3773A5-C11D-7ABA-8D43-695E22B66580}"/>
          </ac:picMkLst>
        </pc:picChg>
      </pc:sldChg>
      <pc:sldChg chg="del ord">
        <pc:chgData name="Mette Frederiksen" userId="30ccb471-d9ba-46c6-baf4-28b32116df08" providerId="ADAL" clId="{654A47D1-BD43-4E5D-B73A-ECD78F828C37}" dt="2023-03-14T12:08:03.906" v="181" actId="47"/>
        <pc:sldMkLst>
          <pc:docMk/>
          <pc:sldMk cId="3455928841" sldId="348"/>
        </pc:sldMkLst>
      </pc:sldChg>
      <pc:sldChg chg="addSp modSp new mod">
        <pc:chgData name="Mette Frederiksen" userId="30ccb471-d9ba-46c6-baf4-28b32116df08" providerId="ADAL" clId="{654A47D1-BD43-4E5D-B73A-ECD78F828C37}" dt="2023-03-14T12:06:57.687" v="169" actId="1076"/>
        <pc:sldMkLst>
          <pc:docMk/>
          <pc:sldMk cId="3822721411" sldId="349"/>
        </pc:sldMkLst>
        <pc:spChg chg="mod">
          <ac:chgData name="Mette Frederiksen" userId="30ccb471-d9ba-46c6-baf4-28b32116df08" providerId="ADAL" clId="{654A47D1-BD43-4E5D-B73A-ECD78F828C37}" dt="2023-03-14T12:06:19.869" v="165" actId="20577"/>
          <ac:spMkLst>
            <pc:docMk/>
            <pc:sldMk cId="3822721411" sldId="349"/>
            <ac:spMk id="2" creationId="{E80E7D5B-5FE4-5EFF-5F18-2946EB167D78}"/>
          </ac:spMkLst>
        </pc:spChg>
        <pc:picChg chg="add mod modCrop">
          <ac:chgData name="Mette Frederiksen" userId="30ccb471-d9ba-46c6-baf4-28b32116df08" providerId="ADAL" clId="{654A47D1-BD43-4E5D-B73A-ECD78F828C37}" dt="2023-03-14T12:06:57.687" v="169" actId="1076"/>
          <ac:picMkLst>
            <pc:docMk/>
            <pc:sldMk cId="3822721411" sldId="349"/>
            <ac:picMk id="4" creationId="{64DE4BAE-1DE6-DD34-C006-FF6940B71C8A}"/>
          </ac:picMkLst>
        </pc:picChg>
      </pc:sldChg>
    </pc:docChg>
  </pc:docChgLst>
  <pc:docChgLst>
    <pc:chgData name="Mette Frederiksen" userId="30ccb471-d9ba-46c6-baf4-28b32116df08" providerId="ADAL" clId="{FC12622C-C8DA-4CA5-B4BC-4D78CBECD1C6}"/>
    <pc:docChg chg="undo custSel addSld delSld modSld sldOrd">
      <pc:chgData name="Mette Frederiksen" userId="30ccb471-d9ba-46c6-baf4-28b32116df08" providerId="ADAL" clId="{FC12622C-C8DA-4CA5-B4BC-4D78CBECD1C6}" dt="2023-05-09T11:01:51.770" v="2497" actId="1038"/>
      <pc:docMkLst>
        <pc:docMk/>
      </pc:docMkLst>
      <pc:sldChg chg="modSp mod">
        <pc:chgData name="Mette Frederiksen" userId="30ccb471-d9ba-46c6-baf4-28b32116df08" providerId="ADAL" clId="{FC12622C-C8DA-4CA5-B4BC-4D78CBECD1C6}" dt="2023-05-04T11:01:47.460" v="1976" actId="20577"/>
        <pc:sldMkLst>
          <pc:docMk/>
          <pc:sldMk cId="1151906053" sldId="335"/>
        </pc:sldMkLst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3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5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7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8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9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10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12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47.460" v="1976" actId="20577"/>
          <ac:spMkLst>
            <pc:docMk/>
            <pc:sldMk cId="1151906053" sldId="335"/>
            <ac:spMk id="13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15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16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18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20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21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01:39.976" v="1973" actId="2711"/>
          <ac:spMkLst>
            <pc:docMk/>
            <pc:sldMk cId="1151906053" sldId="335"/>
            <ac:spMk id="22" creationId="{00000000-0000-0000-0000-000000000000}"/>
          </ac:spMkLst>
        </pc:spChg>
      </pc:sldChg>
      <pc:sldChg chg="modSp mod ord">
        <pc:chgData name="Mette Frederiksen" userId="30ccb471-d9ba-46c6-baf4-28b32116df08" providerId="ADAL" clId="{FC12622C-C8DA-4CA5-B4BC-4D78CBECD1C6}" dt="2023-04-27T15:03:52.252" v="83" actId="123"/>
        <pc:sldMkLst>
          <pc:docMk/>
          <pc:sldMk cId="2228417934" sldId="336"/>
        </pc:sldMkLst>
        <pc:spChg chg="mod">
          <ac:chgData name="Mette Frederiksen" userId="30ccb471-d9ba-46c6-baf4-28b32116df08" providerId="ADAL" clId="{FC12622C-C8DA-4CA5-B4BC-4D78CBECD1C6}" dt="2023-04-27T15:03:52.252" v="83" actId="123"/>
          <ac:spMkLst>
            <pc:docMk/>
            <pc:sldMk cId="2228417934" sldId="336"/>
            <ac:spMk id="4" creationId="{00000000-0000-0000-0000-000000000000}"/>
          </ac:spMkLst>
        </pc:spChg>
      </pc:sldChg>
      <pc:sldChg chg="modSp del mod ord">
        <pc:chgData name="Mette Frederiksen" userId="30ccb471-d9ba-46c6-baf4-28b32116df08" providerId="ADAL" clId="{FC12622C-C8DA-4CA5-B4BC-4D78CBECD1C6}" dt="2023-05-09T09:01:00.575" v="2105" actId="47"/>
        <pc:sldMkLst>
          <pc:docMk/>
          <pc:sldMk cId="1718602963" sldId="337"/>
        </pc:sldMkLst>
        <pc:spChg chg="mod">
          <ac:chgData name="Mette Frederiksen" userId="30ccb471-d9ba-46c6-baf4-28b32116df08" providerId="ADAL" clId="{FC12622C-C8DA-4CA5-B4BC-4D78CBECD1C6}" dt="2023-05-04T11:34:30.249" v="2038" actId="14100"/>
          <ac:spMkLst>
            <pc:docMk/>
            <pc:sldMk cId="1718602963" sldId="337"/>
            <ac:spMk id="4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32:32.617" v="2036" actId="14100"/>
          <ac:spMkLst>
            <pc:docMk/>
            <pc:sldMk cId="1718602963" sldId="337"/>
            <ac:spMk id="6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32:37.441" v="2037" actId="2711"/>
          <ac:spMkLst>
            <pc:docMk/>
            <pc:sldMk cId="1718602963" sldId="337"/>
            <ac:spMk id="8" creationId="{00000000-0000-0000-0000-000000000000}"/>
          </ac:spMkLst>
        </pc:spChg>
      </pc:sldChg>
      <pc:sldChg chg="del ord">
        <pc:chgData name="Mette Frederiksen" userId="30ccb471-d9ba-46c6-baf4-28b32116df08" providerId="ADAL" clId="{FC12622C-C8DA-4CA5-B4BC-4D78CBECD1C6}" dt="2023-05-09T09:01:00.575" v="2105" actId="47"/>
        <pc:sldMkLst>
          <pc:docMk/>
          <pc:sldMk cId="3130920926" sldId="338"/>
        </pc:sldMkLst>
      </pc:sldChg>
      <pc:sldChg chg="del ord">
        <pc:chgData name="Mette Frederiksen" userId="30ccb471-d9ba-46c6-baf4-28b32116df08" providerId="ADAL" clId="{FC12622C-C8DA-4CA5-B4BC-4D78CBECD1C6}" dt="2023-05-09T09:01:00.575" v="2105" actId="47"/>
        <pc:sldMkLst>
          <pc:docMk/>
          <pc:sldMk cId="262456113" sldId="339"/>
        </pc:sldMkLst>
      </pc:sldChg>
      <pc:sldChg chg="addSp delSp modSp mod ord">
        <pc:chgData name="Mette Frederiksen" userId="30ccb471-d9ba-46c6-baf4-28b32116df08" providerId="ADAL" clId="{FC12622C-C8DA-4CA5-B4BC-4D78CBECD1C6}" dt="2023-05-04T11:40:38.507" v="2084"/>
        <pc:sldMkLst>
          <pc:docMk/>
          <pc:sldMk cId="4184067396" sldId="340"/>
        </pc:sldMkLst>
        <pc:spChg chg="del">
          <ac:chgData name="Mette Frederiksen" userId="30ccb471-d9ba-46c6-baf4-28b32116df08" providerId="ADAL" clId="{FC12622C-C8DA-4CA5-B4BC-4D78CBECD1C6}" dt="2023-05-04T11:38:57.310" v="2068" actId="478"/>
          <ac:spMkLst>
            <pc:docMk/>
            <pc:sldMk cId="4184067396" sldId="340"/>
            <ac:spMk id="5" creationId="{00000000-0000-0000-0000-000000000000}"/>
          </ac:spMkLst>
        </pc:spChg>
        <pc:spChg chg="mod">
          <ac:chgData name="Mette Frederiksen" userId="30ccb471-d9ba-46c6-baf4-28b32116df08" providerId="ADAL" clId="{FC12622C-C8DA-4CA5-B4BC-4D78CBECD1C6}" dt="2023-05-04T11:39:32.458" v="2080" actId="1076"/>
          <ac:spMkLst>
            <pc:docMk/>
            <pc:sldMk cId="4184067396" sldId="340"/>
            <ac:spMk id="9" creationId="{FA8F2157-F584-1FF9-9CA2-5CE727BAD31B}"/>
          </ac:spMkLst>
        </pc:spChg>
        <pc:spChg chg="add mod">
          <ac:chgData name="Mette Frederiksen" userId="30ccb471-d9ba-46c6-baf4-28b32116df08" providerId="ADAL" clId="{FC12622C-C8DA-4CA5-B4BC-4D78CBECD1C6}" dt="2023-05-04T11:40:38.507" v="2084"/>
          <ac:spMkLst>
            <pc:docMk/>
            <pc:sldMk cId="4184067396" sldId="340"/>
            <ac:spMk id="13" creationId="{1416F188-993C-BD03-44D5-61BEAB8632B7}"/>
          </ac:spMkLst>
        </pc:spChg>
        <pc:graphicFrameChg chg="mod">
          <ac:chgData name="Mette Frederiksen" userId="30ccb471-d9ba-46c6-baf4-28b32116df08" providerId="ADAL" clId="{FC12622C-C8DA-4CA5-B4BC-4D78CBECD1C6}" dt="2023-05-04T11:39:50.530" v="2081" actId="2711"/>
          <ac:graphicFrameMkLst>
            <pc:docMk/>
            <pc:sldMk cId="4184067396" sldId="340"/>
            <ac:graphicFrameMk id="3" creationId="{00000000-0000-0000-0000-000000000000}"/>
          </ac:graphicFrameMkLst>
        </pc:graphicFrameChg>
        <pc:picChg chg="del">
          <ac:chgData name="Mette Frederiksen" userId="30ccb471-d9ba-46c6-baf4-28b32116df08" providerId="ADAL" clId="{FC12622C-C8DA-4CA5-B4BC-4D78CBECD1C6}" dt="2023-05-04T11:36:51.927" v="2046" actId="478"/>
          <ac:picMkLst>
            <pc:docMk/>
            <pc:sldMk cId="4184067396" sldId="340"/>
            <ac:picMk id="6" creationId="{00000000-0000-0000-0000-000000000000}"/>
          </ac:picMkLst>
        </pc:picChg>
        <pc:picChg chg="del">
          <ac:chgData name="Mette Frederiksen" userId="30ccb471-d9ba-46c6-baf4-28b32116df08" providerId="ADAL" clId="{FC12622C-C8DA-4CA5-B4BC-4D78CBECD1C6}" dt="2023-05-04T11:36:23.479" v="2039" actId="478"/>
          <ac:picMkLst>
            <pc:docMk/>
            <pc:sldMk cId="4184067396" sldId="340"/>
            <ac:picMk id="8" creationId="{EB3773A5-C11D-7ABA-8D43-695E22B66580}"/>
          </ac:picMkLst>
        </pc:picChg>
        <pc:picChg chg="add del mod">
          <ac:chgData name="Mette Frederiksen" userId="30ccb471-d9ba-46c6-baf4-28b32116df08" providerId="ADAL" clId="{FC12622C-C8DA-4CA5-B4BC-4D78CBECD1C6}" dt="2023-05-04T11:38:33.135" v="2053" actId="478"/>
          <ac:picMkLst>
            <pc:docMk/>
            <pc:sldMk cId="4184067396" sldId="340"/>
            <ac:picMk id="10" creationId="{A53102B2-1C3C-039F-1D8A-12577618353E}"/>
          </ac:picMkLst>
        </pc:picChg>
        <pc:picChg chg="add mod">
          <ac:chgData name="Mette Frederiksen" userId="30ccb471-d9ba-46c6-baf4-28b32116df08" providerId="ADAL" clId="{FC12622C-C8DA-4CA5-B4BC-4D78CBECD1C6}" dt="2023-05-04T11:39:04.919" v="2073" actId="1035"/>
          <ac:picMkLst>
            <pc:docMk/>
            <pc:sldMk cId="4184067396" sldId="340"/>
            <ac:picMk id="12" creationId="{4D5B1AB3-7CC0-A5DE-CFC8-0BBB472F87DC}"/>
          </ac:picMkLst>
        </pc:picChg>
      </pc:sldChg>
      <pc:sldChg chg="del ord">
        <pc:chgData name="Mette Frederiksen" userId="30ccb471-d9ba-46c6-baf4-28b32116df08" providerId="ADAL" clId="{FC12622C-C8DA-4CA5-B4BC-4D78CBECD1C6}" dt="2023-05-09T09:01:00.575" v="2105" actId="47"/>
        <pc:sldMkLst>
          <pc:docMk/>
          <pc:sldMk cId="3247916233" sldId="341"/>
        </pc:sldMkLst>
      </pc:sldChg>
      <pc:sldChg chg="del ord">
        <pc:chgData name="Mette Frederiksen" userId="30ccb471-d9ba-46c6-baf4-28b32116df08" providerId="ADAL" clId="{FC12622C-C8DA-4CA5-B4BC-4D78CBECD1C6}" dt="2023-05-09T09:01:00.575" v="2105" actId="47"/>
        <pc:sldMkLst>
          <pc:docMk/>
          <pc:sldMk cId="2724035645" sldId="342"/>
        </pc:sldMkLst>
      </pc:sldChg>
      <pc:sldChg chg="ord">
        <pc:chgData name="Mette Frederiksen" userId="30ccb471-d9ba-46c6-baf4-28b32116df08" providerId="ADAL" clId="{FC12622C-C8DA-4CA5-B4BC-4D78CBECD1C6}" dt="2023-05-04T11:42:24.127" v="2086"/>
        <pc:sldMkLst>
          <pc:docMk/>
          <pc:sldMk cId="2624156028" sldId="343"/>
        </pc:sldMkLst>
      </pc:sldChg>
      <pc:sldChg chg="ord">
        <pc:chgData name="Mette Frederiksen" userId="30ccb471-d9ba-46c6-baf4-28b32116df08" providerId="ADAL" clId="{FC12622C-C8DA-4CA5-B4BC-4D78CBECD1C6}" dt="2023-05-04T11:42:24.127" v="2086"/>
        <pc:sldMkLst>
          <pc:docMk/>
          <pc:sldMk cId="1859917911" sldId="344"/>
        </pc:sldMkLst>
      </pc:sldChg>
      <pc:sldChg chg="del ord">
        <pc:chgData name="Mette Frederiksen" userId="30ccb471-d9ba-46c6-baf4-28b32116df08" providerId="ADAL" clId="{FC12622C-C8DA-4CA5-B4BC-4D78CBECD1C6}" dt="2023-05-09T09:00:55.901" v="2104" actId="47"/>
        <pc:sldMkLst>
          <pc:docMk/>
          <pc:sldMk cId="14492107" sldId="345"/>
        </pc:sldMkLst>
      </pc:sldChg>
      <pc:sldChg chg="del ord">
        <pc:chgData name="Mette Frederiksen" userId="30ccb471-d9ba-46c6-baf4-28b32116df08" providerId="ADAL" clId="{FC12622C-C8DA-4CA5-B4BC-4D78CBECD1C6}" dt="2023-05-09T09:00:55.901" v="2104" actId="47"/>
        <pc:sldMkLst>
          <pc:docMk/>
          <pc:sldMk cId="667414006" sldId="346"/>
        </pc:sldMkLst>
      </pc:sldChg>
      <pc:sldChg chg="del ord">
        <pc:chgData name="Mette Frederiksen" userId="30ccb471-d9ba-46c6-baf4-28b32116df08" providerId="ADAL" clId="{FC12622C-C8DA-4CA5-B4BC-4D78CBECD1C6}" dt="2023-05-09T09:00:55.901" v="2104" actId="47"/>
        <pc:sldMkLst>
          <pc:docMk/>
          <pc:sldMk cId="1060389053" sldId="347"/>
        </pc:sldMkLst>
      </pc:sldChg>
      <pc:sldChg chg="del ord">
        <pc:chgData name="Mette Frederiksen" userId="30ccb471-d9ba-46c6-baf4-28b32116df08" providerId="ADAL" clId="{FC12622C-C8DA-4CA5-B4BC-4D78CBECD1C6}" dt="2023-05-04T10:52:28.228" v="1877" actId="47"/>
        <pc:sldMkLst>
          <pc:docMk/>
          <pc:sldMk cId="3578660304" sldId="348"/>
        </pc:sldMkLst>
      </pc:sldChg>
      <pc:sldChg chg="addSp delSp modSp new del mod">
        <pc:chgData name="Mette Frederiksen" userId="30ccb471-d9ba-46c6-baf4-28b32116df08" providerId="ADAL" clId="{FC12622C-C8DA-4CA5-B4BC-4D78CBECD1C6}" dt="2023-04-27T15:01:03.932" v="64" actId="47"/>
        <pc:sldMkLst>
          <pc:docMk/>
          <pc:sldMk cId="3850382893" sldId="349"/>
        </pc:sldMkLst>
        <pc:picChg chg="add del mod">
          <ac:chgData name="Mette Frederiksen" userId="30ccb471-d9ba-46c6-baf4-28b32116df08" providerId="ADAL" clId="{FC12622C-C8DA-4CA5-B4BC-4D78CBECD1C6}" dt="2023-04-27T14:56:11.751" v="4" actId="478"/>
          <ac:picMkLst>
            <pc:docMk/>
            <pc:sldMk cId="3850382893" sldId="349"/>
            <ac:picMk id="5" creationId="{26C2B334-8B4B-9022-67EB-0D495668E479}"/>
          </ac:picMkLst>
        </pc:picChg>
        <pc:picChg chg="add mod">
          <ac:chgData name="Mette Frederiksen" userId="30ccb471-d9ba-46c6-baf4-28b32116df08" providerId="ADAL" clId="{FC12622C-C8DA-4CA5-B4BC-4D78CBECD1C6}" dt="2023-04-27T14:56:21.179" v="9" actId="1038"/>
          <ac:picMkLst>
            <pc:docMk/>
            <pc:sldMk cId="3850382893" sldId="349"/>
            <ac:picMk id="7" creationId="{18F57334-653F-1271-34EA-9FE5D23FB2EE}"/>
          </ac:picMkLst>
        </pc:picChg>
      </pc:sldChg>
      <pc:sldChg chg="addSp delSp modSp new mod">
        <pc:chgData name="Mette Frederiksen" userId="30ccb471-d9ba-46c6-baf4-28b32116df08" providerId="ADAL" clId="{FC12622C-C8DA-4CA5-B4BC-4D78CBECD1C6}" dt="2023-05-09T11:01:51.770" v="2497" actId="1038"/>
        <pc:sldMkLst>
          <pc:docMk/>
          <pc:sldMk cId="1904400427" sldId="350"/>
        </pc:sldMkLst>
        <pc:spChg chg="mod">
          <ac:chgData name="Mette Frederiksen" userId="30ccb471-d9ba-46c6-baf4-28b32116df08" providerId="ADAL" clId="{FC12622C-C8DA-4CA5-B4BC-4D78CBECD1C6}" dt="2023-05-09T10:58:56.641" v="2454" actId="20577"/>
          <ac:spMkLst>
            <pc:docMk/>
            <pc:sldMk cId="1904400427" sldId="350"/>
            <ac:spMk id="2" creationId="{6791B9FC-3ECB-4244-A648-6880F2769CF4}"/>
          </ac:spMkLst>
        </pc:spChg>
        <pc:spChg chg="add mod">
          <ac:chgData name="Mette Frederiksen" userId="30ccb471-d9ba-46c6-baf4-28b32116df08" providerId="ADAL" clId="{FC12622C-C8DA-4CA5-B4BC-4D78CBECD1C6}" dt="2023-05-09T10:59:00.706" v="2456" actId="20577"/>
          <ac:spMkLst>
            <pc:docMk/>
            <pc:sldMk cId="1904400427" sldId="350"/>
            <ac:spMk id="4" creationId="{67089D66-9627-4820-8356-731D2698C123}"/>
          </ac:spMkLst>
        </pc:spChg>
        <pc:spChg chg="add mod ord">
          <ac:chgData name="Mette Frederiksen" userId="30ccb471-d9ba-46c6-baf4-28b32116df08" providerId="ADAL" clId="{FC12622C-C8DA-4CA5-B4BC-4D78CBECD1C6}" dt="2023-04-27T15:21:35.556" v="253" actId="1076"/>
          <ac:spMkLst>
            <pc:docMk/>
            <pc:sldMk cId="1904400427" sldId="350"/>
            <ac:spMk id="5" creationId="{D1ED22E7-5CD4-34EF-9AE4-1C3E2BC32F45}"/>
          </ac:spMkLst>
        </pc:spChg>
        <pc:spChg chg="add mod">
          <ac:chgData name="Mette Frederiksen" userId="30ccb471-d9ba-46c6-baf4-28b32116df08" providerId="ADAL" clId="{FC12622C-C8DA-4CA5-B4BC-4D78CBECD1C6}" dt="2023-05-09T11:01:51.770" v="2497" actId="1038"/>
          <ac:spMkLst>
            <pc:docMk/>
            <pc:sldMk cId="1904400427" sldId="350"/>
            <ac:spMk id="6" creationId="{102B7BE5-9AFD-320C-108D-DDFE657FB6ED}"/>
          </ac:spMkLst>
        </pc:spChg>
        <pc:spChg chg="add del mod">
          <ac:chgData name="Mette Frederiksen" userId="30ccb471-d9ba-46c6-baf4-28b32116df08" providerId="ADAL" clId="{FC12622C-C8DA-4CA5-B4BC-4D78CBECD1C6}" dt="2023-04-27T15:19:48.637" v="228" actId="478"/>
          <ac:spMkLst>
            <pc:docMk/>
            <pc:sldMk cId="1904400427" sldId="350"/>
            <ac:spMk id="6" creationId="{97451FE2-0BAA-C788-80F7-41A9B9A54D79}"/>
          </ac:spMkLst>
        </pc:spChg>
        <pc:spChg chg="add mod">
          <ac:chgData name="Mette Frederiksen" userId="30ccb471-d9ba-46c6-baf4-28b32116df08" providerId="ADAL" clId="{FC12622C-C8DA-4CA5-B4BC-4D78CBECD1C6}" dt="2023-04-27T15:21:07.522" v="250" actId="208"/>
          <ac:spMkLst>
            <pc:docMk/>
            <pc:sldMk cId="1904400427" sldId="350"/>
            <ac:spMk id="7" creationId="{DFC9FE32-B7BB-B01E-CAF8-D083567C3380}"/>
          </ac:spMkLst>
        </pc:spChg>
        <pc:spChg chg="add mod">
          <ac:chgData name="Mette Frederiksen" userId="30ccb471-d9ba-46c6-baf4-28b32116df08" providerId="ADAL" clId="{FC12622C-C8DA-4CA5-B4BC-4D78CBECD1C6}" dt="2023-05-09T11:01:00.547" v="2488" actId="14100"/>
          <ac:spMkLst>
            <pc:docMk/>
            <pc:sldMk cId="1904400427" sldId="350"/>
            <ac:spMk id="10" creationId="{C5975C6C-23BF-E83B-B826-7C3C610415E4}"/>
          </ac:spMkLst>
        </pc:spChg>
        <pc:spChg chg="add mod">
          <ac:chgData name="Mette Frederiksen" userId="30ccb471-d9ba-46c6-baf4-28b32116df08" providerId="ADAL" clId="{FC12622C-C8DA-4CA5-B4BC-4D78CBECD1C6}" dt="2023-04-27T15:21:46.260" v="255" actId="1076"/>
          <ac:spMkLst>
            <pc:docMk/>
            <pc:sldMk cId="1904400427" sldId="350"/>
            <ac:spMk id="13" creationId="{5555894E-2E48-D7BA-CE90-F620CB70631E}"/>
          </ac:spMkLst>
        </pc:spChg>
        <pc:spChg chg="add mod">
          <ac:chgData name="Mette Frederiksen" userId="30ccb471-d9ba-46c6-baf4-28b32116df08" providerId="ADAL" clId="{FC12622C-C8DA-4CA5-B4BC-4D78CBECD1C6}" dt="2023-04-27T15:24:20.244" v="320" actId="14100"/>
          <ac:spMkLst>
            <pc:docMk/>
            <pc:sldMk cId="1904400427" sldId="350"/>
            <ac:spMk id="18" creationId="{F9438C99-3C5E-27F8-A8F0-C6BCD4459993}"/>
          </ac:spMkLst>
        </pc:spChg>
        <pc:spChg chg="add mod">
          <ac:chgData name="Mette Frederiksen" userId="30ccb471-d9ba-46c6-baf4-28b32116df08" providerId="ADAL" clId="{FC12622C-C8DA-4CA5-B4BC-4D78CBECD1C6}" dt="2023-05-04T08:58:00.381" v="489" actId="208"/>
          <ac:spMkLst>
            <pc:docMk/>
            <pc:sldMk cId="1904400427" sldId="350"/>
            <ac:spMk id="19" creationId="{C9256CF8-8F21-5D6A-967D-AC0334853297}"/>
          </ac:spMkLst>
        </pc:spChg>
        <pc:graphicFrameChg chg="add del mod">
          <ac:chgData name="Mette Frederiksen" userId="30ccb471-d9ba-46c6-baf4-28b32116df08" providerId="ADAL" clId="{FC12622C-C8DA-4CA5-B4BC-4D78CBECD1C6}" dt="2023-04-27T14:58:39.321" v="20" actId="478"/>
          <ac:graphicFrameMkLst>
            <pc:docMk/>
            <pc:sldMk cId="1904400427" sldId="350"/>
            <ac:graphicFrameMk id="8" creationId="{402F9462-1594-F0E4-4BA6-760F621FBCE1}"/>
          </ac:graphicFrameMkLst>
        </pc:graphicFrameChg>
        <pc:picChg chg="add del">
          <ac:chgData name="Mette Frederiksen" userId="30ccb471-d9ba-46c6-baf4-28b32116df08" providerId="ADAL" clId="{FC12622C-C8DA-4CA5-B4BC-4D78CBECD1C6}" dt="2023-04-27T14:56:49.462" v="12" actId="478"/>
          <ac:picMkLst>
            <pc:docMk/>
            <pc:sldMk cId="1904400427" sldId="350"/>
            <ac:picMk id="5" creationId="{7B70058D-80C3-5895-867D-4630854C91ED}"/>
          </ac:picMkLst>
        </pc:picChg>
        <pc:picChg chg="add del mod">
          <ac:chgData name="Mette Frederiksen" userId="30ccb471-d9ba-46c6-baf4-28b32116df08" providerId="ADAL" clId="{FC12622C-C8DA-4CA5-B4BC-4D78CBECD1C6}" dt="2023-04-27T14:57:20.390" v="16" actId="478"/>
          <ac:picMkLst>
            <pc:docMk/>
            <pc:sldMk cId="1904400427" sldId="350"/>
            <ac:picMk id="7" creationId="{7DAB6571-C427-D5A3-59A6-B38A7B4E1834}"/>
          </ac:picMkLst>
        </pc:picChg>
        <pc:picChg chg="add mod">
          <ac:chgData name="Mette Frederiksen" userId="30ccb471-d9ba-46c6-baf4-28b32116df08" providerId="ADAL" clId="{FC12622C-C8DA-4CA5-B4BC-4D78CBECD1C6}" dt="2023-04-27T15:22:44.606" v="261" actId="1038"/>
          <ac:picMkLst>
            <pc:docMk/>
            <pc:sldMk cId="1904400427" sldId="350"/>
            <ac:picMk id="8" creationId="{4FBDE324-6E45-6C42-4DC0-2D16AB35FB5B}"/>
          </ac:picMkLst>
        </pc:picChg>
        <pc:picChg chg="add mod">
          <ac:chgData name="Mette Frederiksen" userId="30ccb471-d9ba-46c6-baf4-28b32116df08" providerId="ADAL" clId="{FC12622C-C8DA-4CA5-B4BC-4D78CBECD1C6}" dt="2023-04-27T15:22:51.003" v="262" actId="1076"/>
          <ac:picMkLst>
            <pc:docMk/>
            <pc:sldMk cId="1904400427" sldId="350"/>
            <ac:picMk id="9" creationId="{B4B7D673-2983-C7AB-74B8-57DE9BCAD5A5}"/>
          </ac:picMkLst>
        </pc:picChg>
        <pc:picChg chg="add del mod">
          <ac:chgData name="Mette Frederiksen" userId="30ccb471-d9ba-46c6-baf4-28b32116df08" providerId="ADAL" clId="{FC12622C-C8DA-4CA5-B4BC-4D78CBECD1C6}" dt="2023-05-04T08:57:28.979" v="483" actId="478"/>
          <ac:picMkLst>
            <pc:docMk/>
            <pc:sldMk cId="1904400427" sldId="350"/>
            <ac:picMk id="10" creationId="{58A62626-AA07-54BB-775A-E2A0E01EFDBB}"/>
          </ac:picMkLst>
        </pc:picChg>
        <pc:picChg chg="add mod">
          <ac:chgData name="Mette Frederiksen" userId="30ccb471-d9ba-46c6-baf4-28b32116df08" providerId="ADAL" clId="{FC12622C-C8DA-4CA5-B4BC-4D78CBECD1C6}" dt="2023-04-27T15:23:06.051" v="270" actId="1036"/>
          <ac:picMkLst>
            <pc:docMk/>
            <pc:sldMk cId="1904400427" sldId="350"/>
            <ac:picMk id="11" creationId="{5289B276-E010-8A87-B62F-2723F2D7C157}"/>
          </ac:picMkLst>
        </pc:picChg>
        <pc:picChg chg="add mod ord modCrop">
          <ac:chgData name="Mette Frederiksen" userId="30ccb471-d9ba-46c6-baf4-28b32116df08" providerId="ADAL" clId="{FC12622C-C8DA-4CA5-B4BC-4D78CBECD1C6}" dt="2023-05-04T08:57:35.179" v="484" actId="1076"/>
          <ac:picMkLst>
            <pc:docMk/>
            <pc:sldMk cId="1904400427" sldId="350"/>
            <ac:picMk id="12" creationId="{D6FC7AE0-231B-5036-E74D-4B5EC4F8E7B9}"/>
          </ac:picMkLst>
        </pc:picChg>
        <pc:picChg chg="add del mod">
          <ac:chgData name="Mette Frederiksen" userId="30ccb471-d9ba-46c6-baf4-28b32116df08" providerId="ADAL" clId="{FC12622C-C8DA-4CA5-B4BC-4D78CBECD1C6}" dt="2023-04-27T15:20:33.804" v="242" actId="478"/>
          <ac:picMkLst>
            <pc:docMk/>
            <pc:sldMk cId="1904400427" sldId="350"/>
            <ac:picMk id="12" creationId="{D8FD18BE-FE88-82ED-3CB6-A0483D42FD2F}"/>
          </ac:picMkLst>
        </pc:picChg>
        <pc:picChg chg="add mod">
          <ac:chgData name="Mette Frederiksen" userId="30ccb471-d9ba-46c6-baf4-28b32116df08" providerId="ADAL" clId="{FC12622C-C8DA-4CA5-B4BC-4D78CBECD1C6}" dt="2023-04-27T15:23:35.284" v="280" actId="14100"/>
          <ac:picMkLst>
            <pc:docMk/>
            <pc:sldMk cId="1904400427" sldId="350"/>
            <ac:picMk id="14" creationId="{5785BF77-F777-30E0-B978-9CC30F9ADB9F}"/>
          </ac:picMkLst>
        </pc:picChg>
        <pc:picChg chg="add mod">
          <ac:chgData name="Mette Frederiksen" userId="30ccb471-d9ba-46c6-baf4-28b32116df08" providerId="ADAL" clId="{FC12622C-C8DA-4CA5-B4BC-4D78CBECD1C6}" dt="2023-04-27T15:23:26.324" v="277" actId="1076"/>
          <ac:picMkLst>
            <pc:docMk/>
            <pc:sldMk cId="1904400427" sldId="350"/>
            <ac:picMk id="15" creationId="{73687A51-736D-EA2E-01A3-EEBA0ACF5404}"/>
          </ac:picMkLst>
        </pc:picChg>
        <pc:picChg chg="add mod">
          <ac:chgData name="Mette Frederiksen" userId="30ccb471-d9ba-46c6-baf4-28b32116df08" providerId="ADAL" clId="{FC12622C-C8DA-4CA5-B4BC-4D78CBECD1C6}" dt="2023-04-27T15:23:32.316" v="279" actId="14100"/>
          <ac:picMkLst>
            <pc:docMk/>
            <pc:sldMk cId="1904400427" sldId="350"/>
            <ac:picMk id="16" creationId="{03A8EA90-7556-873B-F42E-94C0C1B4937A}"/>
          </ac:picMkLst>
        </pc:picChg>
        <pc:picChg chg="add mod">
          <ac:chgData name="Mette Frederiksen" userId="30ccb471-d9ba-46c6-baf4-28b32116df08" providerId="ADAL" clId="{FC12622C-C8DA-4CA5-B4BC-4D78CBECD1C6}" dt="2023-04-27T15:23:12.900" v="274" actId="1037"/>
          <ac:picMkLst>
            <pc:docMk/>
            <pc:sldMk cId="1904400427" sldId="350"/>
            <ac:picMk id="17" creationId="{57246642-2167-9425-FD26-6D66445B46D3}"/>
          </ac:picMkLst>
        </pc:picChg>
        <pc:picChg chg="add del mod">
          <ac:chgData name="Mette Frederiksen" userId="30ccb471-d9ba-46c6-baf4-28b32116df08" providerId="ADAL" clId="{FC12622C-C8DA-4CA5-B4BC-4D78CBECD1C6}" dt="2023-04-27T14:58:35.621" v="19" actId="478"/>
          <ac:picMkLst>
            <pc:docMk/>
            <pc:sldMk cId="1904400427" sldId="350"/>
            <ac:picMk id="1025" creationId="{68F39474-340B-01D2-474D-E7CCFC2963F5}"/>
          </ac:picMkLst>
        </pc:picChg>
      </pc:sldChg>
      <pc:sldChg chg="addSp delSp modSp new mod ord">
        <pc:chgData name="Mette Frederiksen" userId="30ccb471-d9ba-46c6-baf4-28b32116df08" providerId="ADAL" clId="{FC12622C-C8DA-4CA5-B4BC-4D78CBECD1C6}" dt="2023-05-04T11:31:39.862" v="2032" actId="693"/>
        <pc:sldMkLst>
          <pc:docMk/>
          <pc:sldMk cId="2738899613" sldId="351"/>
        </pc:sldMkLst>
        <pc:spChg chg="mod">
          <ac:chgData name="Mette Frederiksen" userId="30ccb471-d9ba-46c6-baf4-28b32116df08" providerId="ADAL" clId="{FC12622C-C8DA-4CA5-B4BC-4D78CBECD1C6}" dt="2023-05-04T08:40:29.336" v="419" actId="20577"/>
          <ac:spMkLst>
            <pc:docMk/>
            <pc:sldMk cId="2738899613" sldId="351"/>
            <ac:spMk id="2" creationId="{FA67AD91-9583-5D67-7D9B-EB1444BDA87F}"/>
          </ac:spMkLst>
        </pc:spChg>
        <pc:spChg chg="add mod">
          <ac:chgData name="Mette Frederiksen" userId="30ccb471-d9ba-46c6-baf4-28b32116df08" providerId="ADAL" clId="{FC12622C-C8DA-4CA5-B4BC-4D78CBECD1C6}" dt="2023-05-04T08:55:04.867" v="477" actId="20577"/>
          <ac:spMkLst>
            <pc:docMk/>
            <pc:sldMk cId="2738899613" sldId="351"/>
            <ac:spMk id="9" creationId="{6596146F-46B1-5E70-7036-7C13CC17472A}"/>
          </ac:spMkLst>
        </pc:spChg>
        <pc:spChg chg="add del mod">
          <ac:chgData name="Mette Frederiksen" userId="30ccb471-d9ba-46c6-baf4-28b32116df08" providerId="ADAL" clId="{FC12622C-C8DA-4CA5-B4BC-4D78CBECD1C6}" dt="2023-05-04T11:31:08.449" v="2027" actId="478"/>
          <ac:spMkLst>
            <pc:docMk/>
            <pc:sldMk cId="2738899613" sldId="351"/>
            <ac:spMk id="22" creationId="{F25D1D86-EDE3-7207-E080-9ECE83FBBAB5}"/>
          </ac:spMkLst>
        </pc:spChg>
        <pc:spChg chg="add del mod">
          <ac:chgData name="Mette Frederiksen" userId="30ccb471-d9ba-46c6-baf4-28b32116df08" providerId="ADAL" clId="{FC12622C-C8DA-4CA5-B4BC-4D78CBECD1C6}" dt="2023-05-04T11:31:10.305" v="2028" actId="478"/>
          <ac:spMkLst>
            <pc:docMk/>
            <pc:sldMk cId="2738899613" sldId="351"/>
            <ac:spMk id="23" creationId="{342B1373-5147-07F0-5350-DF1885D8B724}"/>
          </ac:spMkLst>
        </pc:spChg>
        <pc:picChg chg="add del mod">
          <ac:chgData name="Mette Frederiksen" userId="30ccb471-d9ba-46c6-baf4-28b32116df08" providerId="ADAL" clId="{FC12622C-C8DA-4CA5-B4BC-4D78CBECD1C6}" dt="2023-05-04T08:53:22.550" v="420" actId="478"/>
          <ac:picMkLst>
            <pc:docMk/>
            <pc:sldMk cId="2738899613" sldId="351"/>
            <ac:picMk id="4" creationId="{A47861CE-FE3E-E692-97C2-289F3CED22FD}"/>
          </ac:picMkLst>
        </pc:picChg>
        <pc:picChg chg="add del mod">
          <ac:chgData name="Mette Frederiksen" userId="30ccb471-d9ba-46c6-baf4-28b32116df08" providerId="ADAL" clId="{FC12622C-C8DA-4CA5-B4BC-4D78CBECD1C6}" dt="2023-05-04T08:53:34.036" v="423" actId="478"/>
          <ac:picMkLst>
            <pc:docMk/>
            <pc:sldMk cId="2738899613" sldId="351"/>
            <ac:picMk id="5" creationId="{11B1DFB9-AA1D-2285-8791-FFC9040A7C4F}"/>
          </ac:picMkLst>
        </pc:picChg>
        <pc:picChg chg="add mod">
          <ac:chgData name="Mette Frederiksen" userId="30ccb471-d9ba-46c6-baf4-28b32116df08" providerId="ADAL" clId="{FC12622C-C8DA-4CA5-B4BC-4D78CBECD1C6}" dt="2023-05-04T11:30:39.268" v="2022" actId="1076"/>
          <ac:picMkLst>
            <pc:docMk/>
            <pc:sldMk cId="2738899613" sldId="351"/>
            <ac:picMk id="6" creationId="{E9736A1B-5F26-AA25-42C4-2B6F02C4BD08}"/>
          </ac:picMkLst>
        </pc:picChg>
        <pc:picChg chg="add del mod">
          <ac:chgData name="Mette Frederiksen" userId="30ccb471-d9ba-46c6-baf4-28b32116df08" providerId="ADAL" clId="{FC12622C-C8DA-4CA5-B4BC-4D78CBECD1C6}" dt="2023-05-04T08:54:16.555" v="426" actId="478"/>
          <ac:picMkLst>
            <pc:docMk/>
            <pc:sldMk cId="2738899613" sldId="351"/>
            <ac:picMk id="7" creationId="{68D8BC77-9640-396F-1824-3DB0430A7C1C}"/>
          </ac:picMkLst>
        </pc:picChg>
        <pc:picChg chg="add mod ord">
          <ac:chgData name="Mette Frederiksen" userId="30ccb471-d9ba-46c6-baf4-28b32116df08" providerId="ADAL" clId="{FC12622C-C8DA-4CA5-B4BC-4D78CBECD1C6}" dt="2023-05-04T11:26:44.995" v="2009" actId="166"/>
          <ac:picMkLst>
            <pc:docMk/>
            <pc:sldMk cId="2738899613" sldId="351"/>
            <ac:picMk id="8" creationId="{FA7ECDB4-CC5D-9771-7BFC-AB8B9FCFD4ED}"/>
          </ac:picMkLst>
        </pc:picChg>
        <pc:picChg chg="add del mod">
          <ac:chgData name="Mette Frederiksen" userId="30ccb471-d9ba-46c6-baf4-28b32116df08" providerId="ADAL" clId="{FC12622C-C8DA-4CA5-B4BC-4D78CBECD1C6}" dt="2023-05-04T11:22:48.572" v="1994" actId="478"/>
          <ac:picMkLst>
            <pc:docMk/>
            <pc:sldMk cId="2738899613" sldId="351"/>
            <ac:picMk id="13" creationId="{DB9F07F3-9BD1-DA33-EA7D-BA4BF2F54388}"/>
          </ac:picMkLst>
        </pc:picChg>
        <pc:picChg chg="add del mod">
          <ac:chgData name="Mette Frederiksen" userId="30ccb471-d9ba-46c6-baf4-28b32116df08" providerId="ADAL" clId="{FC12622C-C8DA-4CA5-B4BC-4D78CBECD1C6}" dt="2023-05-04T11:25:37.443" v="1999" actId="478"/>
          <ac:picMkLst>
            <pc:docMk/>
            <pc:sldMk cId="2738899613" sldId="351"/>
            <ac:picMk id="15" creationId="{E2FEA26A-9A4E-8D51-0B9F-B4D61E6EF25F}"/>
          </ac:picMkLst>
        </pc:picChg>
        <pc:picChg chg="add del mod">
          <ac:chgData name="Mette Frederiksen" userId="30ccb471-d9ba-46c6-baf4-28b32116df08" providerId="ADAL" clId="{FC12622C-C8DA-4CA5-B4BC-4D78CBECD1C6}" dt="2023-04-27T15:26:45.059" v="324" actId="478"/>
          <ac:picMkLst>
            <pc:docMk/>
            <pc:sldMk cId="2738899613" sldId="351"/>
            <ac:picMk id="1026" creationId="{6788575D-88F9-EA1A-441E-B840263D7B9B}"/>
          </ac:picMkLst>
        </pc:picChg>
        <pc:picChg chg="add del">
          <ac:chgData name="Mette Frederiksen" userId="30ccb471-d9ba-46c6-baf4-28b32116df08" providerId="ADAL" clId="{FC12622C-C8DA-4CA5-B4BC-4D78CBECD1C6}" dt="2023-05-04T11:22:47.123" v="1993" actId="478"/>
          <ac:picMkLst>
            <pc:docMk/>
            <pc:sldMk cId="2738899613" sldId="351"/>
            <ac:picMk id="2050" creationId="{F55F37C7-52FB-ADE8-9B93-0705F44B3270}"/>
          </ac:picMkLst>
        </pc:picChg>
        <pc:cxnChg chg="add del mod">
          <ac:chgData name="Mette Frederiksen" userId="30ccb471-d9ba-46c6-baf4-28b32116df08" providerId="ADAL" clId="{FC12622C-C8DA-4CA5-B4BC-4D78CBECD1C6}" dt="2023-05-04T11:19:26.933" v="1981" actId="478"/>
          <ac:cxnSpMkLst>
            <pc:docMk/>
            <pc:sldMk cId="2738899613" sldId="351"/>
            <ac:cxnSpMk id="11" creationId="{41C70531-3D3D-6589-DFE1-091A16AB82C2}"/>
          </ac:cxnSpMkLst>
        </pc:cxnChg>
        <pc:cxnChg chg="add del mod">
          <ac:chgData name="Mette Frederiksen" userId="30ccb471-d9ba-46c6-baf4-28b32116df08" providerId="ADAL" clId="{FC12622C-C8DA-4CA5-B4BC-4D78CBECD1C6}" dt="2023-05-04T11:30:17.953" v="2013" actId="478"/>
          <ac:cxnSpMkLst>
            <pc:docMk/>
            <pc:sldMk cId="2738899613" sldId="351"/>
            <ac:cxnSpMk id="17" creationId="{94033379-18B7-487D-66D0-17C64BA59539}"/>
          </ac:cxnSpMkLst>
        </pc:cxnChg>
        <pc:cxnChg chg="add mod">
          <ac:chgData name="Mette Frederiksen" userId="30ccb471-d9ba-46c6-baf4-28b32116df08" providerId="ADAL" clId="{FC12622C-C8DA-4CA5-B4BC-4D78CBECD1C6}" dt="2023-05-04T11:30:01.862" v="2011" actId="693"/>
          <ac:cxnSpMkLst>
            <pc:docMk/>
            <pc:sldMk cId="2738899613" sldId="351"/>
            <ac:cxnSpMk id="18" creationId="{7E943A7A-8724-9B51-9D54-26236677C7A0}"/>
          </ac:cxnSpMkLst>
        </pc:cxnChg>
        <pc:cxnChg chg="add del mod">
          <ac:chgData name="Mette Frederiksen" userId="30ccb471-d9ba-46c6-baf4-28b32116df08" providerId="ADAL" clId="{FC12622C-C8DA-4CA5-B4BC-4D78CBECD1C6}" dt="2023-05-04T11:29:52.169" v="2010" actId="478"/>
          <ac:cxnSpMkLst>
            <pc:docMk/>
            <pc:sldMk cId="2738899613" sldId="351"/>
            <ac:cxnSpMk id="20" creationId="{E517F8F5-228F-ABDA-5CFC-10CB49D3AAFE}"/>
          </ac:cxnSpMkLst>
        </pc:cxnChg>
        <pc:cxnChg chg="add mod">
          <ac:chgData name="Mette Frederiksen" userId="30ccb471-d9ba-46c6-baf4-28b32116df08" providerId="ADAL" clId="{FC12622C-C8DA-4CA5-B4BC-4D78CBECD1C6}" dt="2023-05-04T11:31:39.862" v="2032" actId="693"/>
          <ac:cxnSpMkLst>
            <pc:docMk/>
            <pc:sldMk cId="2738899613" sldId="351"/>
            <ac:cxnSpMk id="25" creationId="{F9AF7582-17CF-FDA6-C6E7-F82FBCE1DD59}"/>
          </ac:cxnSpMkLst>
        </pc:cxnChg>
      </pc:sldChg>
      <pc:sldChg chg="addSp delSp modSp new del mod">
        <pc:chgData name="Mette Frederiksen" userId="30ccb471-d9ba-46c6-baf4-28b32116df08" providerId="ADAL" clId="{FC12622C-C8DA-4CA5-B4BC-4D78CBECD1C6}" dt="2023-05-04T10:51:31.381" v="1866" actId="47"/>
        <pc:sldMkLst>
          <pc:docMk/>
          <pc:sldMk cId="316484897" sldId="352"/>
        </pc:sldMkLst>
        <pc:spChg chg="mod">
          <ac:chgData name="Mette Frederiksen" userId="30ccb471-d9ba-46c6-baf4-28b32116df08" providerId="ADAL" clId="{FC12622C-C8DA-4CA5-B4BC-4D78CBECD1C6}" dt="2023-05-04T08:59:01.371" v="521" actId="20577"/>
          <ac:spMkLst>
            <pc:docMk/>
            <pc:sldMk cId="316484897" sldId="352"/>
            <ac:spMk id="2" creationId="{77FE13D5-73F7-9EE2-F341-C08FC7B9701A}"/>
          </ac:spMkLst>
        </pc:spChg>
        <pc:spChg chg="add del mod">
          <ac:chgData name="Mette Frederiksen" userId="30ccb471-d9ba-46c6-baf4-28b32116df08" providerId="ADAL" clId="{FC12622C-C8DA-4CA5-B4BC-4D78CBECD1C6}" dt="2023-05-04T09:03:56.169" v="524" actId="478"/>
          <ac:spMkLst>
            <pc:docMk/>
            <pc:sldMk cId="316484897" sldId="352"/>
            <ac:spMk id="4" creationId="{0504F634-F35C-68BE-D6C7-0ADEF4AC6058}"/>
          </ac:spMkLst>
        </pc:spChg>
        <pc:spChg chg="add mod ord">
          <ac:chgData name="Mette Frederiksen" userId="30ccb471-d9ba-46c6-baf4-28b32116df08" providerId="ADAL" clId="{FC12622C-C8DA-4CA5-B4BC-4D78CBECD1C6}" dt="2023-05-04T09:06:45.736" v="609" actId="20577"/>
          <ac:spMkLst>
            <pc:docMk/>
            <pc:sldMk cId="316484897" sldId="352"/>
            <ac:spMk id="6" creationId="{9C0BB82D-2C37-236C-5B37-E183237C584F}"/>
          </ac:spMkLst>
        </pc:spChg>
        <pc:spChg chg="add mod">
          <ac:chgData name="Mette Frederiksen" userId="30ccb471-d9ba-46c6-baf4-28b32116df08" providerId="ADAL" clId="{FC12622C-C8DA-4CA5-B4BC-4D78CBECD1C6}" dt="2023-05-04T09:05:50.344" v="595" actId="208"/>
          <ac:spMkLst>
            <pc:docMk/>
            <pc:sldMk cId="316484897" sldId="352"/>
            <ac:spMk id="7" creationId="{BB84D9DF-12B1-28F4-2557-74EFD666727B}"/>
          </ac:spMkLst>
        </pc:spChg>
        <pc:spChg chg="add mod">
          <ac:chgData name="Mette Frederiksen" userId="30ccb471-d9ba-46c6-baf4-28b32116df08" providerId="ADAL" clId="{FC12622C-C8DA-4CA5-B4BC-4D78CBECD1C6}" dt="2023-05-04T09:07:20.338" v="617" actId="208"/>
          <ac:spMkLst>
            <pc:docMk/>
            <pc:sldMk cId="316484897" sldId="352"/>
            <ac:spMk id="8" creationId="{F1C7F53A-5AE8-BC84-2E11-34ED7432FAE1}"/>
          </ac:spMkLst>
        </pc:spChg>
        <pc:spChg chg="add mod">
          <ac:chgData name="Mette Frederiksen" userId="30ccb471-d9ba-46c6-baf4-28b32116df08" providerId="ADAL" clId="{FC12622C-C8DA-4CA5-B4BC-4D78CBECD1C6}" dt="2023-05-04T09:07:57.551" v="632" actId="14100"/>
          <ac:spMkLst>
            <pc:docMk/>
            <pc:sldMk cId="316484897" sldId="352"/>
            <ac:spMk id="9" creationId="{4532CCA0-9228-C975-DA99-E38911D04188}"/>
          </ac:spMkLst>
        </pc:spChg>
        <pc:spChg chg="add mod">
          <ac:chgData name="Mette Frederiksen" userId="30ccb471-d9ba-46c6-baf4-28b32116df08" providerId="ADAL" clId="{FC12622C-C8DA-4CA5-B4BC-4D78CBECD1C6}" dt="2023-05-04T09:07:48.736" v="630" actId="1076"/>
          <ac:spMkLst>
            <pc:docMk/>
            <pc:sldMk cId="316484897" sldId="352"/>
            <ac:spMk id="10" creationId="{FEC82E53-08FD-8974-7F28-3C35235F8F9F}"/>
          </ac:spMkLst>
        </pc:spChg>
        <pc:spChg chg="add mod">
          <ac:chgData name="Mette Frederiksen" userId="30ccb471-d9ba-46c6-baf4-28b32116df08" providerId="ADAL" clId="{FC12622C-C8DA-4CA5-B4BC-4D78CBECD1C6}" dt="2023-05-04T09:07:42.487" v="629" actId="14100"/>
          <ac:spMkLst>
            <pc:docMk/>
            <pc:sldMk cId="316484897" sldId="352"/>
            <ac:spMk id="11" creationId="{D12FCF10-0357-626B-49BF-D78D3877A37E}"/>
          </ac:spMkLst>
        </pc:spChg>
        <pc:spChg chg="add mod">
          <ac:chgData name="Mette Frederiksen" userId="30ccb471-d9ba-46c6-baf4-28b32116df08" providerId="ADAL" clId="{FC12622C-C8DA-4CA5-B4BC-4D78CBECD1C6}" dt="2023-05-04T09:07:26.271" v="622" actId="1076"/>
          <ac:spMkLst>
            <pc:docMk/>
            <pc:sldMk cId="316484897" sldId="352"/>
            <ac:spMk id="12" creationId="{6146513B-C1EC-8B2B-B48F-157EFCB8E511}"/>
          </ac:spMkLst>
        </pc:spChg>
        <pc:spChg chg="add mod">
          <ac:chgData name="Mette Frederiksen" userId="30ccb471-d9ba-46c6-baf4-28b32116df08" providerId="ADAL" clId="{FC12622C-C8DA-4CA5-B4BC-4D78CBECD1C6}" dt="2023-05-04T09:09:04.078" v="659" actId="1076"/>
          <ac:spMkLst>
            <pc:docMk/>
            <pc:sldMk cId="316484897" sldId="352"/>
            <ac:spMk id="13" creationId="{3AA36AC6-C703-492B-D18A-110BE2021C20}"/>
          </ac:spMkLst>
        </pc:spChg>
        <pc:spChg chg="add mod">
          <ac:chgData name="Mette Frederiksen" userId="30ccb471-d9ba-46c6-baf4-28b32116df08" providerId="ADAL" clId="{FC12622C-C8DA-4CA5-B4BC-4D78CBECD1C6}" dt="2023-05-04T09:11:16.415" v="751" actId="1038"/>
          <ac:spMkLst>
            <pc:docMk/>
            <pc:sldMk cId="316484897" sldId="352"/>
            <ac:spMk id="14" creationId="{80CA6F5D-F47D-3AD4-E7A1-6D51A99DC68C}"/>
          </ac:spMkLst>
        </pc:spChg>
        <pc:spChg chg="add mod">
          <ac:chgData name="Mette Frederiksen" userId="30ccb471-d9ba-46c6-baf4-28b32116df08" providerId="ADAL" clId="{FC12622C-C8DA-4CA5-B4BC-4D78CBECD1C6}" dt="2023-05-04T09:09:56.767" v="724" actId="1037"/>
          <ac:spMkLst>
            <pc:docMk/>
            <pc:sldMk cId="316484897" sldId="352"/>
            <ac:spMk id="15" creationId="{D63267DB-91DF-DFC0-AA34-6B380D89F110}"/>
          </ac:spMkLst>
        </pc:spChg>
        <pc:spChg chg="add mod">
          <ac:chgData name="Mette Frederiksen" userId="30ccb471-d9ba-46c6-baf4-28b32116df08" providerId="ADAL" clId="{FC12622C-C8DA-4CA5-B4BC-4D78CBECD1C6}" dt="2023-05-04T09:11:43.229" v="783" actId="1076"/>
          <ac:spMkLst>
            <pc:docMk/>
            <pc:sldMk cId="316484897" sldId="352"/>
            <ac:spMk id="16" creationId="{1B061AE8-BE5B-FC1E-827C-EDF79649F68A}"/>
          </ac:spMkLst>
        </pc:spChg>
        <pc:spChg chg="add mod">
          <ac:chgData name="Mette Frederiksen" userId="30ccb471-d9ba-46c6-baf4-28b32116df08" providerId="ADAL" clId="{FC12622C-C8DA-4CA5-B4BC-4D78CBECD1C6}" dt="2023-05-04T09:25:57.649" v="916" actId="404"/>
          <ac:spMkLst>
            <pc:docMk/>
            <pc:sldMk cId="316484897" sldId="352"/>
            <ac:spMk id="17" creationId="{C821086A-CC52-C753-B76B-8D3961865FC7}"/>
          </ac:spMkLst>
        </pc:spChg>
        <pc:spChg chg="add mod">
          <ac:chgData name="Mette Frederiksen" userId="30ccb471-d9ba-46c6-baf4-28b32116df08" providerId="ADAL" clId="{FC12622C-C8DA-4CA5-B4BC-4D78CBECD1C6}" dt="2023-05-04T09:26:24.679" v="921" actId="14100"/>
          <ac:spMkLst>
            <pc:docMk/>
            <pc:sldMk cId="316484897" sldId="352"/>
            <ac:spMk id="18" creationId="{8685378D-38C4-85E9-AE55-8C00A80BEEA5}"/>
          </ac:spMkLst>
        </pc:spChg>
        <pc:spChg chg="add mod">
          <ac:chgData name="Mette Frederiksen" userId="30ccb471-d9ba-46c6-baf4-28b32116df08" providerId="ADAL" clId="{FC12622C-C8DA-4CA5-B4BC-4D78CBECD1C6}" dt="2023-05-04T09:26:01.937" v="917" actId="404"/>
          <ac:spMkLst>
            <pc:docMk/>
            <pc:sldMk cId="316484897" sldId="352"/>
            <ac:spMk id="21" creationId="{B81BDC21-D584-5FC0-222F-BBA95A6F9D54}"/>
          </ac:spMkLst>
        </pc:spChg>
        <pc:spChg chg="add mod">
          <ac:chgData name="Mette Frederiksen" userId="30ccb471-d9ba-46c6-baf4-28b32116df08" providerId="ADAL" clId="{FC12622C-C8DA-4CA5-B4BC-4D78CBECD1C6}" dt="2023-05-04T09:26:14.624" v="919" actId="14100"/>
          <ac:spMkLst>
            <pc:docMk/>
            <pc:sldMk cId="316484897" sldId="352"/>
            <ac:spMk id="22" creationId="{C37B6B01-0682-7119-9624-A957F44C4095}"/>
          </ac:spMkLst>
        </pc:spChg>
        <pc:picChg chg="add mod modCrop">
          <ac:chgData name="Mette Frederiksen" userId="30ccb471-d9ba-46c6-baf4-28b32116df08" providerId="ADAL" clId="{FC12622C-C8DA-4CA5-B4BC-4D78CBECD1C6}" dt="2023-05-04T09:07:29.264" v="624" actId="1076"/>
          <ac:picMkLst>
            <pc:docMk/>
            <pc:sldMk cId="316484897" sldId="352"/>
            <ac:picMk id="5" creationId="{F68EEE64-6F5E-12F9-58BA-EBE4DFFD9B86}"/>
          </ac:picMkLst>
        </pc:picChg>
        <pc:cxnChg chg="add mod">
          <ac:chgData name="Mette Frederiksen" userId="30ccb471-d9ba-46c6-baf4-28b32116df08" providerId="ADAL" clId="{FC12622C-C8DA-4CA5-B4BC-4D78CBECD1C6}" dt="2023-05-04T09:26:24.679" v="921" actId="14100"/>
          <ac:cxnSpMkLst>
            <pc:docMk/>
            <pc:sldMk cId="316484897" sldId="352"/>
            <ac:cxnSpMk id="20" creationId="{0F6561EF-BB96-139A-6FDA-4AFEDEFE5BD0}"/>
          </ac:cxnSpMkLst>
        </pc:cxnChg>
        <pc:cxnChg chg="add mod">
          <ac:chgData name="Mette Frederiksen" userId="30ccb471-d9ba-46c6-baf4-28b32116df08" providerId="ADAL" clId="{FC12622C-C8DA-4CA5-B4BC-4D78CBECD1C6}" dt="2023-05-04T09:25:39.800" v="915" actId="14100"/>
          <ac:cxnSpMkLst>
            <pc:docMk/>
            <pc:sldMk cId="316484897" sldId="352"/>
            <ac:cxnSpMk id="23" creationId="{7338D07E-1B5E-640E-9D1C-082A1B3C7600}"/>
          </ac:cxnSpMkLst>
        </pc:cxnChg>
      </pc:sldChg>
      <pc:sldChg chg="addSp delSp modSp new mod modTransition modAnim">
        <pc:chgData name="Mette Frederiksen" userId="30ccb471-d9ba-46c6-baf4-28b32116df08" providerId="ADAL" clId="{FC12622C-C8DA-4CA5-B4BC-4D78CBECD1C6}" dt="2023-05-09T08:54:53.965" v="2102"/>
        <pc:sldMkLst>
          <pc:docMk/>
          <pc:sldMk cId="3524169692" sldId="353"/>
        </pc:sldMkLst>
        <pc:spChg chg="mod">
          <ac:chgData name="Mette Frederiksen" userId="30ccb471-d9ba-46c6-baf4-28b32116df08" providerId="ADAL" clId="{FC12622C-C8DA-4CA5-B4BC-4D78CBECD1C6}" dt="2023-05-04T10:50:33.030" v="1861" actId="20577"/>
          <ac:spMkLst>
            <pc:docMk/>
            <pc:sldMk cId="3524169692" sldId="353"/>
            <ac:spMk id="2" creationId="{48422BB4-E99A-50A1-1CEF-3F76E65FF64D}"/>
          </ac:spMkLst>
        </pc:spChg>
        <pc:spChg chg="add mod ord">
          <ac:chgData name="Mette Frederiksen" userId="30ccb471-d9ba-46c6-baf4-28b32116df08" providerId="ADAL" clId="{FC12622C-C8DA-4CA5-B4BC-4D78CBECD1C6}" dt="2023-05-04T09:38:32.061" v="949" actId="166"/>
          <ac:spMkLst>
            <pc:docMk/>
            <pc:sldMk cId="3524169692" sldId="353"/>
            <ac:spMk id="4" creationId="{5868BF8F-1098-8C0A-7E16-12155E3D9803}"/>
          </ac:spMkLst>
        </pc:spChg>
        <pc:spChg chg="add del mod">
          <ac:chgData name="Mette Frederiksen" userId="30ccb471-d9ba-46c6-baf4-28b32116df08" providerId="ADAL" clId="{FC12622C-C8DA-4CA5-B4BC-4D78CBECD1C6}" dt="2023-05-04T09:36:42.799" v="933" actId="478"/>
          <ac:spMkLst>
            <pc:docMk/>
            <pc:sldMk cId="3524169692" sldId="353"/>
            <ac:spMk id="5" creationId="{31E21DA1-93A9-D898-6D43-2DA7094EAE13}"/>
          </ac:spMkLst>
        </pc:spChg>
        <pc:spChg chg="add mod topLvl">
          <ac:chgData name="Mette Frederiksen" userId="30ccb471-d9ba-46c6-baf4-28b32116df08" providerId="ADAL" clId="{FC12622C-C8DA-4CA5-B4BC-4D78CBECD1C6}" dt="2023-05-04T09:39:23.375" v="959" actId="164"/>
          <ac:spMkLst>
            <pc:docMk/>
            <pc:sldMk cId="3524169692" sldId="353"/>
            <ac:spMk id="6" creationId="{A318699B-EA1E-E676-E52B-C6C3B74FB647}"/>
          </ac:spMkLst>
        </pc:spChg>
        <pc:spChg chg="add mod topLvl">
          <ac:chgData name="Mette Frederiksen" userId="30ccb471-d9ba-46c6-baf4-28b32116df08" providerId="ADAL" clId="{FC12622C-C8DA-4CA5-B4BC-4D78CBECD1C6}" dt="2023-05-04T09:39:23.375" v="959" actId="164"/>
          <ac:spMkLst>
            <pc:docMk/>
            <pc:sldMk cId="3524169692" sldId="353"/>
            <ac:spMk id="7" creationId="{81AE663E-48D8-B7F6-54C3-202CB8BCF304}"/>
          </ac:spMkLst>
        </pc:spChg>
        <pc:spChg chg="add del">
          <ac:chgData name="Mette Frederiksen" userId="30ccb471-d9ba-46c6-baf4-28b32116df08" providerId="ADAL" clId="{FC12622C-C8DA-4CA5-B4BC-4D78CBECD1C6}" dt="2023-05-04T09:41:02.215" v="961" actId="478"/>
          <ac:spMkLst>
            <pc:docMk/>
            <pc:sldMk cId="3524169692" sldId="353"/>
            <ac:spMk id="10" creationId="{7888FC77-6040-C7D8-9B1D-E823F3202BFF}"/>
          </ac:spMkLst>
        </pc:spChg>
        <pc:spChg chg="add del">
          <ac:chgData name="Mette Frederiksen" userId="30ccb471-d9ba-46c6-baf4-28b32116df08" providerId="ADAL" clId="{FC12622C-C8DA-4CA5-B4BC-4D78CBECD1C6}" dt="2023-05-04T09:41:19.535" v="963" actId="478"/>
          <ac:spMkLst>
            <pc:docMk/>
            <pc:sldMk cId="3524169692" sldId="353"/>
            <ac:spMk id="11" creationId="{4453BFA0-CBB3-B8A0-5076-5A99A9497D81}"/>
          </ac:spMkLst>
        </pc:spChg>
        <pc:spChg chg="add mod">
          <ac:chgData name="Mette Frederiksen" userId="30ccb471-d9ba-46c6-baf4-28b32116df08" providerId="ADAL" clId="{FC12622C-C8DA-4CA5-B4BC-4D78CBECD1C6}" dt="2023-05-09T08:52:21.056" v="2091" actId="207"/>
          <ac:spMkLst>
            <pc:docMk/>
            <pc:sldMk cId="3524169692" sldId="353"/>
            <ac:spMk id="12" creationId="{C4C09817-E75B-BC69-7A7E-ED5789FB721B}"/>
          </ac:spMkLst>
        </pc:spChg>
        <pc:spChg chg="add mod">
          <ac:chgData name="Mette Frederiksen" userId="30ccb471-d9ba-46c6-baf4-28b32116df08" providerId="ADAL" clId="{FC12622C-C8DA-4CA5-B4BC-4D78CBECD1C6}" dt="2023-05-09T08:52:21.056" v="2091" actId="207"/>
          <ac:spMkLst>
            <pc:docMk/>
            <pc:sldMk cId="3524169692" sldId="353"/>
            <ac:spMk id="13" creationId="{3A2B0FC1-C335-10DD-CDA7-18216A70129B}"/>
          </ac:spMkLst>
        </pc:spChg>
        <pc:spChg chg="add mod">
          <ac:chgData name="Mette Frederiksen" userId="30ccb471-d9ba-46c6-baf4-28b32116df08" providerId="ADAL" clId="{FC12622C-C8DA-4CA5-B4BC-4D78CBECD1C6}" dt="2023-05-04T09:53:10.280" v="1011" actId="208"/>
          <ac:spMkLst>
            <pc:docMk/>
            <pc:sldMk cId="3524169692" sldId="353"/>
            <ac:spMk id="24" creationId="{202E286B-D952-C561-9A1D-150F6FE474B3}"/>
          </ac:spMkLst>
        </pc:spChg>
        <pc:spChg chg="add mod">
          <ac:chgData name="Mette Frederiksen" userId="30ccb471-d9ba-46c6-baf4-28b32116df08" providerId="ADAL" clId="{FC12622C-C8DA-4CA5-B4BC-4D78CBECD1C6}" dt="2023-05-04T10:58:01.220" v="1926" actId="14100"/>
          <ac:spMkLst>
            <pc:docMk/>
            <pc:sldMk cId="3524169692" sldId="353"/>
            <ac:spMk id="28" creationId="{F50E91A4-4FEA-D105-3428-D9BA67140220}"/>
          </ac:spMkLst>
        </pc:spChg>
        <pc:spChg chg="add mod">
          <ac:chgData name="Mette Frederiksen" userId="30ccb471-d9ba-46c6-baf4-28b32116df08" providerId="ADAL" clId="{FC12622C-C8DA-4CA5-B4BC-4D78CBECD1C6}" dt="2023-05-04T10:57:48.452" v="1924" actId="1076"/>
          <ac:spMkLst>
            <pc:docMk/>
            <pc:sldMk cId="3524169692" sldId="353"/>
            <ac:spMk id="29" creationId="{7F758247-B446-A29D-DDCF-C57135BD4B4A}"/>
          </ac:spMkLst>
        </pc:spChg>
        <pc:spChg chg="add mod">
          <ac:chgData name="Mette Frederiksen" userId="30ccb471-d9ba-46c6-baf4-28b32116df08" providerId="ADAL" clId="{FC12622C-C8DA-4CA5-B4BC-4D78CBECD1C6}" dt="2023-05-09T08:51:20.104" v="2089" actId="207"/>
          <ac:spMkLst>
            <pc:docMk/>
            <pc:sldMk cId="3524169692" sldId="353"/>
            <ac:spMk id="30" creationId="{8F163539-3E8C-B607-5582-75F98B851C8A}"/>
          </ac:spMkLst>
        </pc:spChg>
        <pc:spChg chg="add mod">
          <ac:chgData name="Mette Frederiksen" userId="30ccb471-d9ba-46c6-baf4-28b32116df08" providerId="ADAL" clId="{FC12622C-C8DA-4CA5-B4BC-4D78CBECD1C6}" dt="2023-05-09T08:51:20.104" v="2089" actId="207"/>
          <ac:spMkLst>
            <pc:docMk/>
            <pc:sldMk cId="3524169692" sldId="353"/>
            <ac:spMk id="31" creationId="{634A78B1-3AE5-CE97-461F-3E5150F29F04}"/>
          </ac:spMkLst>
        </pc:spChg>
        <pc:spChg chg="add mod">
          <ac:chgData name="Mette Frederiksen" userId="30ccb471-d9ba-46c6-baf4-28b32116df08" providerId="ADAL" clId="{FC12622C-C8DA-4CA5-B4BC-4D78CBECD1C6}" dt="2023-05-04T10:57:03.996" v="1911" actId="14100"/>
          <ac:spMkLst>
            <pc:docMk/>
            <pc:sldMk cId="3524169692" sldId="353"/>
            <ac:spMk id="33" creationId="{C4D03E69-9810-74C1-BCF7-899BAFB7B832}"/>
          </ac:spMkLst>
        </pc:spChg>
        <pc:spChg chg="add mod">
          <ac:chgData name="Mette Frederiksen" userId="30ccb471-d9ba-46c6-baf4-28b32116df08" providerId="ADAL" clId="{FC12622C-C8DA-4CA5-B4BC-4D78CBECD1C6}" dt="2023-05-04T10:57:18.854" v="1918" actId="1037"/>
          <ac:spMkLst>
            <pc:docMk/>
            <pc:sldMk cId="3524169692" sldId="353"/>
            <ac:spMk id="34" creationId="{22635A6B-6E73-1161-8FE9-0EFB4AE3CDE9}"/>
          </ac:spMkLst>
        </pc:spChg>
        <pc:spChg chg="add mod">
          <ac:chgData name="Mette Frederiksen" userId="30ccb471-d9ba-46c6-baf4-28b32116df08" providerId="ADAL" clId="{FC12622C-C8DA-4CA5-B4BC-4D78CBECD1C6}" dt="2023-05-04T10:58:58.411" v="1944" actId="14100"/>
          <ac:spMkLst>
            <pc:docMk/>
            <pc:sldMk cId="3524169692" sldId="353"/>
            <ac:spMk id="35" creationId="{120301C0-E3F7-FCE8-A30C-7BF096215710}"/>
          </ac:spMkLst>
        </pc:spChg>
        <pc:spChg chg="add mod">
          <ac:chgData name="Mette Frederiksen" userId="30ccb471-d9ba-46c6-baf4-28b32116df08" providerId="ADAL" clId="{FC12622C-C8DA-4CA5-B4BC-4D78CBECD1C6}" dt="2023-05-04T10:59:01.908" v="1945" actId="1076"/>
          <ac:spMkLst>
            <pc:docMk/>
            <pc:sldMk cId="3524169692" sldId="353"/>
            <ac:spMk id="36" creationId="{8400986E-65A8-DAFF-F94F-978FA8A96923}"/>
          </ac:spMkLst>
        </pc:spChg>
        <pc:spChg chg="add mod">
          <ac:chgData name="Mette Frederiksen" userId="30ccb471-d9ba-46c6-baf4-28b32116df08" providerId="ADAL" clId="{FC12622C-C8DA-4CA5-B4BC-4D78CBECD1C6}" dt="2023-05-04T10:08:42.513" v="1108" actId="1076"/>
          <ac:spMkLst>
            <pc:docMk/>
            <pc:sldMk cId="3524169692" sldId="353"/>
            <ac:spMk id="37" creationId="{11168AB5-3179-E027-F7FD-F2FFA0C8518E}"/>
          </ac:spMkLst>
        </pc:spChg>
        <pc:spChg chg="add mod">
          <ac:chgData name="Mette Frederiksen" userId="30ccb471-d9ba-46c6-baf4-28b32116df08" providerId="ADAL" clId="{FC12622C-C8DA-4CA5-B4BC-4D78CBECD1C6}" dt="2023-05-04T10:08:50.962" v="1110" actId="1076"/>
          <ac:spMkLst>
            <pc:docMk/>
            <pc:sldMk cId="3524169692" sldId="353"/>
            <ac:spMk id="38" creationId="{3158A2CE-4E52-90D4-30D1-4EBE2F90CEFE}"/>
          </ac:spMkLst>
        </pc:spChg>
        <pc:spChg chg="add mod">
          <ac:chgData name="Mette Frederiksen" userId="30ccb471-d9ba-46c6-baf4-28b32116df08" providerId="ADAL" clId="{FC12622C-C8DA-4CA5-B4BC-4D78CBECD1C6}" dt="2023-05-04T10:09:04.066" v="1115" actId="1038"/>
          <ac:spMkLst>
            <pc:docMk/>
            <pc:sldMk cId="3524169692" sldId="353"/>
            <ac:spMk id="39" creationId="{8259F6FB-DA32-24A6-30BD-680D3DC6832B}"/>
          </ac:spMkLst>
        </pc:spChg>
        <pc:spChg chg="add mod">
          <ac:chgData name="Mette Frederiksen" userId="30ccb471-d9ba-46c6-baf4-28b32116df08" providerId="ADAL" clId="{FC12622C-C8DA-4CA5-B4BC-4D78CBECD1C6}" dt="2023-05-04T10:09:15.994" v="1117" actId="1076"/>
          <ac:spMkLst>
            <pc:docMk/>
            <pc:sldMk cId="3524169692" sldId="353"/>
            <ac:spMk id="40" creationId="{BF7516B1-8271-0225-6EF6-31A793FD28E0}"/>
          </ac:spMkLst>
        </pc:spChg>
        <pc:spChg chg="add mod">
          <ac:chgData name="Mette Frederiksen" userId="30ccb471-d9ba-46c6-baf4-28b32116df08" providerId="ADAL" clId="{FC12622C-C8DA-4CA5-B4BC-4D78CBECD1C6}" dt="2023-05-09T08:53:54.026" v="2095" actId="207"/>
          <ac:spMkLst>
            <pc:docMk/>
            <pc:sldMk cId="3524169692" sldId="353"/>
            <ac:spMk id="1031" creationId="{F177B5F9-06F1-7F21-AA55-24411F0479FF}"/>
          </ac:spMkLst>
        </pc:spChg>
        <pc:spChg chg="add mod">
          <ac:chgData name="Mette Frederiksen" userId="30ccb471-d9ba-46c6-baf4-28b32116df08" providerId="ADAL" clId="{FC12622C-C8DA-4CA5-B4BC-4D78CBECD1C6}" dt="2023-05-09T08:51:58.024" v="2090" actId="207"/>
          <ac:spMkLst>
            <pc:docMk/>
            <pc:sldMk cId="3524169692" sldId="353"/>
            <ac:spMk id="1033" creationId="{5D95B0D0-2461-EFB2-E836-B28220EA3E51}"/>
          </ac:spMkLst>
        </pc:spChg>
        <pc:spChg chg="add mod">
          <ac:chgData name="Mette Frederiksen" userId="30ccb471-d9ba-46c6-baf4-28b32116df08" providerId="ADAL" clId="{FC12622C-C8DA-4CA5-B4BC-4D78CBECD1C6}" dt="2023-05-09T08:52:31.187" v="2092" actId="207"/>
          <ac:spMkLst>
            <pc:docMk/>
            <pc:sldMk cId="3524169692" sldId="353"/>
            <ac:spMk id="1034" creationId="{31D472D2-7219-FD3F-509D-98C3DC94298A}"/>
          </ac:spMkLst>
        </pc:spChg>
        <pc:spChg chg="add mod">
          <ac:chgData name="Mette Frederiksen" userId="30ccb471-d9ba-46c6-baf4-28b32116df08" providerId="ADAL" clId="{FC12622C-C8DA-4CA5-B4BC-4D78CBECD1C6}" dt="2023-05-09T08:52:59.367" v="2093" actId="207"/>
          <ac:spMkLst>
            <pc:docMk/>
            <pc:sldMk cId="3524169692" sldId="353"/>
            <ac:spMk id="1035" creationId="{27CEC2C9-2482-5B60-B25D-9766E1EBF691}"/>
          </ac:spMkLst>
        </pc:spChg>
        <pc:spChg chg="add mod">
          <ac:chgData name="Mette Frederiksen" userId="30ccb471-d9ba-46c6-baf4-28b32116df08" providerId="ADAL" clId="{FC12622C-C8DA-4CA5-B4BC-4D78CBECD1C6}" dt="2023-05-09T08:53:31.184" v="2094" actId="207"/>
          <ac:spMkLst>
            <pc:docMk/>
            <pc:sldMk cId="3524169692" sldId="353"/>
            <ac:spMk id="1039" creationId="{B256C5B0-C1D8-6784-F20F-17543D9DF810}"/>
          </ac:spMkLst>
        </pc:spChg>
        <pc:spChg chg="add mod">
          <ac:chgData name="Mette Frederiksen" userId="30ccb471-d9ba-46c6-baf4-28b32116df08" providerId="ADAL" clId="{FC12622C-C8DA-4CA5-B4BC-4D78CBECD1C6}" dt="2023-05-04T10:54:56.965" v="1885" actId="14100"/>
          <ac:spMkLst>
            <pc:docMk/>
            <pc:sldMk cId="3524169692" sldId="353"/>
            <ac:spMk id="1040" creationId="{1FEE2B0F-69DE-EACF-5392-2FE33213F675}"/>
          </ac:spMkLst>
        </pc:spChg>
        <pc:grpChg chg="add del mod">
          <ac:chgData name="Mette Frederiksen" userId="30ccb471-d9ba-46c6-baf4-28b32116df08" providerId="ADAL" clId="{FC12622C-C8DA-4CA5-B4BC-4D78CBECD1C6}" dt="2023-05-04T09:39:03.683" v="950" actId="165"/>
          <ac:grpSpMkLst>
            <pc:docMk/>
            <pc:sldMk cId="3524169692" sldId="353"/>
            <ac:grpSpMk id="8" creationId="{2977BADB-2759-E9B4-FCE6-840F4BC6F91C}"/>
          </ac:grpSpMkLst>
        </pc:grpChg>
        <pc:grpChg chg="add mod">
          <ac:chgData name="Mette Frederiksen" userId="30ccb471-d9ba-46c6-baf4-28b32116df08" providerId="ADAL" clId="{FC12622C-C8DA-4CA5-B4BC-4D78CBECD1C6}" dt="2023-05-04T09:39:23.375" v="959" actId="164"/>
          <ac:grpSpMkLst>
            <pc:docMk/>
            <pc:sldMk cId="3524169692" sldId="353"/>
            <ac:grpSpMk id="9" creationId="{D8DBBA5B-6549-6BCE-8CE1-8526580150E6}"/>
          </ac:grpSpMkLst>
        </pc:grpChg>
        <pc:picChg chg="add del mod">
          <ac:chgData name="Mette Frederiksen" userId="30ccb471-d9ba-46c6-baf4-28b32116df08" providerId="ADAL" clId="{FC12622C-C8DA-4CA5-B4BC-4D78CBECD1C6}" dt="2023-05-04T09:59:15.740" v="1039" actId="478"/>
          <ac:picMkLst>
            <pc:docMk/>
            <pc:sldMk cId="3524169692" sldId="353"/>
            <ac:picMk id="15" creationId="{EBD0DA03-BBAB-CFA6-5DD7-9896C28CDE3D}"/>
          </ac:picMkLst>
        </pc:picChg>
        <pc:picChg chg="add del mod">
          <ac:chgData name="Mette Frederiksen" userId="30ccb471-d9ba-46c6-baf4-28b32116df08" providerId="ADAL" clId="{FC12622C-C8DA-4CA5-B4BC-4D78CBECD1C6}" dt="2023-05-04T10:00:30.322" v="1050" actId="478"/>
          <ac:picMkLst>
            <pc:docMk/>
            <pc:sldMk cId="3524169692" sldId="353"/>
            <ac:picMk id="17" creationId="{7E9F9D8E-1B09-36F0-4EB8-8C657D9F109B}"/>
          </ac:picMkLst>
        </pc:picChg>
        <pc:picChg chg="add del mod">
          <ac:chgData name="Mette Frederiksen" userId="30ccb471-d9ba-46c6-baf4-28b32116df08" providerId="ADAL" clId="{FC12622C-C8DA-4CA5-B4BC-4D78CBECD1C6}" dt="2023-05-04T10:02:13.515" v="1058" actId="478"/>
          <ac:picMkLst>
            <pc:docMk/>
            <pc:sldMk cId="3524169692" sldId="353"/>
            <ac:picMk id="19" creationId="{3566B449-70A7-1AC8-4E41-DAA352B6A62E}"/>
          </ac:picMkLst>
        </pc:picChg>
        <pc:picChg chg="add del mod">
          <ac:chgData name="Mette Frederiksen" userId="30ccb471-d9ba-46c6-baf4-28b32116df08" providerId="ADAL" clId="{FC12622C-C8DA-4CA5-B4BC-4D78CBECD1C6}" dt="2023-05-04T10:02:52.923" v="1062" actId="478"/>
          <ac:picMkLst>
            <pc:docMk/>
            <pc:sldMk cId="3524169692" sldId="353"/>
            <ac:picMk id="21" creationId="{0ED4F52E-05C2-1AC5-8DBA-8BA755FA122C}"/>
          </ac:picMkLst>
        </pc:picChg>
        <pc:picChg chg="add del mod">
          <ac:chgData name="Mette Frederiksen" userId="30ccb471-d9ba-46c6-baf4-28b32116df08" providerId="ADAL" clId="{FC12622C-C8DA-4CA5-B4BC-4D78CBECD1C6}" dt="2023-05-04T09:59:14.964" v="1038" actId="478"/>
          <ac:picMkLst>
            <pc:docMk/>
            <pc:sldMk cId="3524169692" sldId="353"/>
            <ac:picMk id="23" creationId="{23323100-A29C-7E3B-8358-EB089EFAD58D}"/>
          </ac:picMkLst>
        </pc:picChg>
        <pc:picChg chg="add del mod">
          <ac:chgData name="Mette Frederiksen" userId="30ccb471-d9ba-46c6-baf4-28b32116df08" providerId="ADAL" clId="{FC12622C-C8DA-4CA5-B4BC-4D78CBECD1C6}" dt="2023-05-04T09:57:17.644" v="1026" actId="478"/>
          <ac:picMkLst>
            <pc:docMk/>
            <pc:sldMk cId="3524169692" sldId="353"/>
            <ac:picMk id="26" creationId="{CF0D9835-BBB6-E8BE-3786-9824F45DAE79}"/>
          </ac:picMkLst>
        </pc:picChg>
        <pc:picChg chg="add mod">
          <ac:chgData name="Mette Frederiksen" userId="30ccb471-d9ba-46c6-baf4-28b32116df08" providerId="ADAL" clId="{FC12622C-C8DA-4CA5-B4BC-4D78CBECD1C6}" dt="2023-05-09T08:52:21.056" v="2091" actId="207"/>
          <ac:picMkLst>
            <pc:docMk/>
            <pc:sldMk cId="3524169692" sldId="353"/>
            <ac:picMk id="27" creationId="{4B240CBD-90CB-0C25-9A74-32CA31ACBA88}"/>
          </ac:picMkLst>
        </pc:picChg>
        <pc:picChg chg="add mod">
          <ac:chgData name="Mette Frederiksen" userId="30ccb471-d9ba-46c6-baf4-28b32116df08" providerId="ADAL" clId="{FC12622C-C8DA-4CA5-B4BC-4D78CBECD1C6}" dt="2023-05-09T08:51:20.104" v="2089" actId="207"/>
          <ac:picMkLst>
            <pc:docMk/>
            <pc:sldMk cId="3524169692" sldId="353"/>
            <ac:picMk id="32" creationId="{E05D5549-C123-1618-C09E-C5935ABC8CC4}"/>
          </ac:picMkLst>
        </pc:picChg>
        <pc:picChg chg="add del mod">
          <ac:chgData name="Mette Frederiksen" userId="30ccb471-d9ba-46c6-baf4-28b32116df08" providerId="ADAL" clId="{FC12622C-C8DA-4CA5-B4BC-4D78CBECD1C6}" dt="2023-05-04T09:46:00.542" v="976" actId="478"/>
          <ac:picMkLst>
            <pc:docMk/>
            <pc:sldMk cId="3524169692" sldId="353"/>
            <ac:picMk id="1026" creationId="{53BEA9B5-D70B-F680-2BAD-730F489BD740}"/>
          </ac:picMkLst>
        </pc:picChg>
        <pc:picChg chg="add mod">
          <ac:chgData name="Mette Frederiksen" userId="30ccb471-d9ba-46c6-baf4-28b32116df08" providerId="ADAL" clId="{FC12622C-C8DA-4CA5-B4BC-4D78CBECD1C6}" dt="2023-05-04T10:55:34.836" v="1894" actId="1076"/>
          <ac:picMkLst>
            <pc:docMk/>
            <pc:sldMk cId="3524169692" sldId="353"/>
            <ac:picMk id="1028" creationId="{C9810DAA-185B-16D6-B8FA-49097733FA58}"/>
          </ac:picMkLst>
        </pc:picChg>
        <pc:picChg chg="add mod">
          <ac:chgData name="Mette Frederiksen" userId="30ccb471-d9ba-46c6-baf4-28b32116df08" providerId="ADAL" clId="{FC12622C-C8DA-4CA5-B4BC-4D78CBECD1C6}" dt="2023-05-04T10:56:52.357" v="1910" actId="14100"/>
          <ac:picMkLst>
            <pc:docMk/>
            <pc:sldMk cId="3524169692" sldId="353"/>
            <ac:picMk id="1030" creationId="{834345BA-4211-C2E4-6C30-6DACD9ED6C42}"/>
          </ac:picMkLst>
        </pc:picChg>
        <pc:picChg chg="add mod">
          <ac:chgData name="Mette Frederiksen" userId="30ccb471-d9ba-46c6-baf4-28b32116df08" providerId="ADAL" clId="{FC12622C-C8DA-4CA5-B4BC-4D78CBECD1C6}" dt="2023-05-04T10:59:58.397" v="1969" actId="1037"/>
          <ac:picMkLst>
            <pc:docMk/>
            <pc:sldMk cId="3524169692" sldId="353"/>
            <ac:picMk id="1032" creationId="{1328404E-B50C-D914-9569-CDB4EBC715E2}"/>
          </ac:picMkLst>
        </pc:picChg>
        <pc:cxnChg chg="add mod">
          <ac:chgData name="Mette Frederiksen" userId="30ccb471-d9ba-46c6-baf4-28b32116df08" providerId="ADAL" clId="{FC12622C-C8DA-4CA5-B4BC-4D78CBECD1C6}" dt="2023-05-04T10:35:49.406" v="1477" actId="14100"/>
          <ac:cxnSpMkLst>
            <pc:docMk/>
            <pc:sldMk cId="3524169692" sldId="353"/>
            <ac:cxnSpMk id="42" creationId="{E38B5B6C-7D4F-8B1A-48D9-C8269EA9B5DB}"/>
          </ac:cxnSpMkLst>
        </pc:cxnChg>
        <pc:cxnChg chg="add del mod">
          <ac:chgData name="Mette Frederiksen" userId="30ccb471-d9ba-46c6-baf4-28b32116df08" providerId="ADAL" clId="{FC12622C-C8DA-4CA5-B4BC-4D78CBECD1C6}" dt="2023-05-04T10:11:58.897" v="1147" actId="478"/>
          <ac:cxnSpMkLst>
            <pc:docMk/>
            <pc:sldMk cId="3524169692" sldId="353"/>
            <ac:cxnSpMk id="44" creationId="{20BFB1EE-C9B1-9CE2-8981-F453A1A7C9A6}"/>
          </ac:cxnSpMkLst>
        </pc:cxnChg>
        <pc:cxnChg chg="add mod">
          <ac:chgData name="Mette Frederiksen" userId="30ccb471-d9ba-46c6-baf4-28b32116df08" providerId="ADAL" clId="{FC12622C-C8DA-4CA5-B4BC-4D78CBECD1C6}" dt="2023-05-04T10:14:45.419" v="1164" actId="208"/>
          <ac:cxnSpMkLst>
            <pc:docMk/>
            <pc:sldMk cId="3524169692" sldId="353"/>
            <ac:cxnSpMk id="45" creationId="{B21B9E47-4E05-82DA-2051-1814042E178F}"/>
          </ac:cxnSpMkLst>
        </pc:cxnChg>
        <pc:cxnChg chg="add mod">
          <ac:chgData name="Mette Frederiksen" userId="30ccb471-d9ba-46c6-baf4-28b32116df08" providerId="ADAL" clId="{FC12622C-C8DA-4CA5-B4BC-4D78CBECD1C6}" dt="2023-05-04T10:14:45.419" v="1164" actId="208"/>
          <ac:cxnSpMkLst>
            <pc:docMk/>
            <pc:sldMk cId="3524169692" sldId="353"/>
            <ac:cxnSpMk id="46" creationId="{A02526EB-A51F-F299-945D-D01B3816B589}"/>
          </ac:cxnSpMkLst>
        </pc:cxnChg>
        <pc:cxnChg chg="add del mod">
          <ac:chgData name="Mette Frederiksen" userId="30ccb471-d9ba-46c6-baf4-28b32116df08" providerId="ADAL" clId="{FC12622C-C8DA-4CA5-B4BC-4D78CBECD1C6}" dt="2023-05-04T10:11:59.857" v="1148" actId="478"/>
          <ac:cxnSpMkLst>
            <pc:docMk/>
            <pc:sldMk cId="3524169692" sldId="353"/>
            <ac:cxnSpMk id="47" creationId="{7BC6FBB1-3A38-A764-C3DF-889DEDD40392}"/>
          </ac:cxnSpMkLst>
        </pc:cxnChg>
        <pc:cxnChg chg="add mod">
          <ac:chgData name="Mette Frederiksen" userId="30ccb471-d9ba-46c6-baf4-28b32116df08" providerId="ADAL" clId="{FC12622C-C8DA-4CA5-B4BC-4D78CBECD1C6}" dt="2023-05-04T10:10:43.833" v="1134" actId="14100"/>
          <ac:cxnSpMkLst>
            <pc:docMk/>
            <pc:sldMk cId="3524169692" sldId="353"/>
            <ac:cxnSpMk id="51" creationId="{CE034775-BE1D-7305-A60B-6D095CAC5881}"/>
          </ac:cxnSpMkLst>
        </pc:cxnChg>
        <pc:cxnChg chg="add mod">
          <ac:chgData name="Mette Frederiksen" userId="30ccb471-d9ba-46c6-baf4-28b32116df08" providerId="ADAL" clId="{FC12622C-C8DA-4CA5-B4BC-4D78CBECD1C6}" dt="2023-05-04T10:10:48.825" v="1135" actId="14100"/>
          <ac:cxnSpMkLst>
            <pc:docMk/>
            <pc:sldMk cId="3524169692" sldId="353"/>
            <ac:cxnSpMk id="52" creationId="{7BA531AA-3760-25ED-ACC0-90ACA5950B25}"/>
          </ac:cxnSpMkLst>
        </pc:cxnChg>
        <pc:cxnChg chg="add mod ord">
          <ac:chgData name="Mette Frederiksen" userId="30ccb471-d9ba-46c6-baf4-28b32116df08" providerId="ADAL" clId="{FC12622C-C8DA-4CA5-B4BC-4D78CBECD1C6}" dt="2023-05-04T10:43:28.088" v="1632" actId="1076"/>
          <ac:cxnSpMkLst>
            <pc:docMk/>
            <pc:sldMk cId="3524169692" sldId="353"/>
            <ac:cxnSpMk id="57" creationId="{E38B753D-B80E-F43D-A135-E007BB542D09}"/>
          </ac:cxnSpMkLst>
        </pc:cxnChg>
        <pc:cxnChg chg="add mod">
          <ac:chgData name="Mette Frederiksen" userId="30ccb471-d9ba-46c6-baf4-28b32116df08" providerId="ADAL" clId="{FC12622C-C8DA-4CA5-B4BC-4D78CBECD1C6}" dt="2023-05-04T10:43:30.536" v="1633" actId="14100"/>
          <ac:cxnSpMkLst>
            <pc:docMk/>
            <pc:sldMk cId="3524169692" sldId="353"/>
            <ac:cxnSpMk id="58" creationId="{ACC75896-1AC7-00FB-A012-13EA4F040C5D}"/>
          </ac:cxnSpMkLst>
        </pc:cxnChg>
        <pc:cxnChg chg="add mod">
          <ac:chgData name="Mette Frederiksen" userId="30ccb471-d9ba-46c6-baf4-28b32116df08" providerId="ADAL" clId="{FC12622C-C8DA-4CA5-B4BC-4D78CBECD1C6}" dt="2023-05-04T10:43:35.328" v="1634" actId="1076"/>
          <ac:cxnSpMkLst>
            <pc:docMk/>
            <pc:sldMk cId="3524169692" sldId="353"/>
            <ac:cxnSpMk id="62" creationId="{C308E836-58CC-0675-491D-024761A341C8}"/>
          </ac:cxnSpMkLst>
        </pc:cxnChg>
        <pc:cxnChg chg="add mod">
          <ac:chgData name="Mette Frederiksen" userId="30ccb471-d9ba-46c6-baf4-28b32116df08" providerId="ADAL" clId="{FC12622C-C8DA-4CA5-B4BC-4D78CBECD1C6}" dt="2023-05-04T10:44:52.288" v="1635" actId="1076"/>
          <ac:cxnSpMkLst>
            <pc:docMk/>
            <pc:sldMk cId="3524169692" sldId="353"/>
            <ac:cxnSpMk id="63" creationId="{0986CDE6-66EA-81BC-0F63-3F2F527AD002}"/>
          </ac:cxnSpMkLst>
        </pc:cxnChg>
        <pc:cxnChg chg="add del">
          <ac:chgData name="Mette Frederiksen" userId="30ccb471-d9ba-46c6-baf4-28b32116df08" providerId="ADAL" clId="{FC12622C-C8DA-4CA5-B4BC-4D78CBECD1C6}" dt="2023-05-04T10:45:08.569" v="1637" actId="478"/>
          <ac:cxnSpMkLst>
            <pc:docMk/>
            <pc:sldMk cId="3524169692" sldId="353"/>
            <ac:cxnSpMk id="1038" creationId="{12871282-FD85-39DB-D8DF-978C6E0670A1}"/>
          </ac:cxnSpMkLst>
        </pc:cxnChg>
      </pc:sldChg>
      <pc:sldChg chg="addSp delSp modSp new del mod">
        <pc:chgData name="Mette Frederiksen" userId="30ccb471-d9ba-46c6-baf4-28b32116df08" providerId="ADAL" clId="{FC12622C-C8DA-4CA5-B4BC-4D78CBECD1C6}" dt="2023-05-09T10:58:08.678" v="2452" actId="47"/>
        <pc:sldMkLst>
          <pc:docMk/>
          <pc:sldMk cId="3960491095" sldId="354"/>
        </pc:sldMkLst>
        <pc:spChg chg="mod">
          <ac:chgData name="Mette Frederiksen" userId="30ccb471-d9ba-46c6-baf4-28b32116df08" providerId="ADAL" clId="{FC12622C-C8DA-4CA5-B4BC-4D78CBECD1C6}" dt="2023-05-09T10:57:28.322" v="2445" actId="20577"/>
          <ac:spMkLst>
            <pc:docMk/>
            <pc:sldMk cId="3960491095" sldId="354"/>
            <ac:spMk id="2" creationId="{A99027F7-757F-67FB-E38C-AA0CE98C125B}"/>
          </ac:spMkLst>
        </pc:spChg>
        <pc:spChg chg="add mod">
          <ac:chgData name="Mette Frederiksen" userId="30ccb471-d9ba-46c6-baf4-28b32116df08" providerId="ADAL" clId="{FC12622C-C8DA-4CA5-B4BC-4D78CBECD1C6}" dt="2023-05-09T10:54:52.253" v="2393" actId="207"/>
          <ac:spMkLst>
            <pc:docMk/>
            <pc:sldMk cId="3960491095" sldId="354"/>
            <ac:spMk id="4" creationId="{E81B8B23-7056-25EF-7A84-1BC398598AD6}"/>
          </ac:spMkLst>
        </pc:spChg>
        <pc:spChg chg="add mod">
          <ac:chgData name="Mette Frederiksen" userId="30ccb471-d9ba-46c6-baf4-28b32116df08" providerId="ADAL" clId="{FC12622C-C8DA-4CA5-B4BC-4D78CBECD1C6}" dt="2023-05-09T10:55:38.130" v="2402" actId="1582"/>
          <ac:spMkLst>
            <pc:docMk/>
            <pc:sldMk cId="3960491095" sldId="354"/>
            <ac:spMk id="5" creationId="{1074E40E-8F70-8777-6C25-341EA9B8D0DC}"/>
          </ac:spMkLst>
        </pc:spChg>
        <pc:spChg chg="add mod">
          <ac:chgData name="Mette Frederiksen" userId="30ccb471-d9ba-46c6-baf4-28b32116df08" providerId="ADAL" clId="{FC12622C-C8DA-4CA5-B4BC-4D78CBECD1C6}" dt="2023-05-09T10:56:24.882" v="2412" actId="1582"/>
          <ac:spMkLst>
            <pc:docMk/>
            <pc:sldMk cId="3960491095" sldId="354"/>
            <ac:spMk id="6" creationId="{C86BC0A5-673C-F4BD-A771-6A9CF62C8E63}"/>
          </ac:spMkLst>
        </pc:spChg>
        <pc:spChg chg="add mod">
          <ac:chgData name="Mette Frederiksen" userId="30ccb471-d9ba-46c6-baf4-28b32116df08" providerId="ADAL" clId="{FC12622C-C8DA-4CA5-B4BC-4D78CBECD1C6}" dt="2023-05-09T10:52:24.704" v="2374" actId="208"/>
          <ac:spMkLst>
            <pc:docMk/>
            <pc:sldMk cId="3960491095" sldId="354"/>
            <ac:spMk id="8" creationId="{D7549936-83A3-DB36-9DA1-9A20D25340E9}"/>
          </ac:spMkLst>
        </pc:spChg>
        <pc:spChg chg="add mod">
          <ac:chgData name="Mette Frederiksen" userId="30ccb471-d9ba-46c6-baf4-28b32116df08" providerId="ADAL" clId="{FC12622C-C8DA-4CA5-B4BC-4D78CBECD1C6}" dt="2023-05-09T10:55:21.715" v="2398" actId="1076"/>
          <ac:spMkLst>
            <pc:docMk/>
            <pc:sldMk cId="3960491095" sldId="354"/>
            <ac:spMk id="13" creationId="{C1118691-F391-4E0F-7980-BA3A3337118A}"/>
          </ac:spMkLst>
        </pc:spChg>
        <pc:spChg chg="add mod">
          <ac:chgData name="Mette Frederiksen" userId="30ccb471-d9ba-46c6-baf4-28b32116df08" providerId="ADAL" clId="{FC12622C-C8DA-4CA5-B4BC-4D78CBECD1C6}" dt="2023-05-09T10:56:44.755" v="2414" actId="1076"/>
          <ac:spMkLst>
            <pc:docMk/>
            <pc:sldMk cId="3960491095" sldId="354"/>
            <ac:spMk id="16" creationId="{8DC115E6-FA84-5FA6-BA4C-B8329A239B33}"/>
          </ac:spMkLst>
        </pc:spChg>
        <pc:picChg chg="add mod ord modCrop">
          <ac:chgData name="Mette Frederiksen" userId="30ccb471-d9ba-46c6-baf4-28b32116df08" providerId="ADAL" clId="{FC12622C-C8DA-4CA5-B4BC-4D78CBECD1C6}" dt="2023-05-09T10:53:31.517" v="2385" actId="1076"/>
          <ac:picMkLst>
            <pc:docMk/>
            <pc:sldMk cId="3960491095" sldId="354"/>
            <ac:picMk id="7" creationId="{2F68C0A0-AB33-A4A0-158D-2B410A2097D3}"/>
          </ac:picMkLst>
        </pc:picChg>
        <pc:picChg chg="add del mod">
          <ac:chgData name="Mette Frederiksen" userId="30ccb471-d9ba-46c6-baf4-28b32116df08" providerId="ADAL" clId="{FC12622C-C8DA-4CA5-B4BC-4D78CBECD1C6}" dt="2023-05-09T10:50:19.783" v="2334" actId="478"/>
          <ac:picMkLst>
            <pc:docMk/>
            <pc:sldMk cId="3960491095" sldId="354"/>
            <ac:picMk id="1026" creationId="{0ECA1D0F-8C57-3315-01F5-E42BD435C2C4}"/>
          </ac:picMkLst>
        </pc:picChg>
        <pc:cxnChg chg="add mod">
          <ac:chgData name="Mette Frederiksen" userId="30ccb471-d9ba-46c6-baf4-28b32116df08" providerId="ADAL" clId="{FC12622C-C8DA-4CA5-B4BC-4D78CBECD1C6}" dt="2023-05-09T10:53:58.855" v="2389" actId="1582"/>
          <ac:cxnSpMkLst>
            <pc:docMk/>
            <pc:sldMk cId="3960491095" sldId="354"/>
            <ac:cxnSpMk id="10" creationId="{8179F6A7-8F6D-413D-FF4E-45962F96F658}"/>
          </ac:cxnSpMkLst>
        </pc:cxnChg>
        <pc:cxnChg chg="add mod">
          <ac:chgData name="Mette Frederiksen" userId="30ccb471-d9ba-46c6-baf4-28b32116df08" providerId="ADAL" clId="{FC12622C-C8DA-4CA5-B4BC-4D78CBECD1C6}" dt="2023-05-09T10:55:51.408" v="2405" actId="1582"/>
          <ac:cxnSpMkLst>
            <pc:docMk/>
            <pc:sldMk cId="3960491095" sldId="354"/>
            <ac:cxnSpMk id="15" creationId="{13CE79E2-A849-BBAB-E097-827E4781B776}"/>
          </ac:cxnSpMkLst>
        </pc:cxnChg>
        <pc:cxnChg chg="add mod">
          <ac:chgData name="Mette Frederiksen" userId="30ccb471-d9ba-46c6-baf4-28b32116df08" providerId="ADAL" clId="{FC12622C-C8DA-4CA5-B4BC-4D78CBECD1C6}" dt="2023-05-09T10:57:11.487" v="2419" actId="1582"/>
          <ac:cxnSpMkLst>
            <pc:docMk/>
            <pc:sldMk cId="3960491095" sldId="354"/>
            <ac:cxnSpMk id="18" creationId="{4B306CB9-CC4D-9616-0DB6-BA0113298786}"/>
          </ac:cxnSpMkLst>
        </pc:cxnChg>
      </pc:sldChg>
      <pc:sldChg chg="addSp delSp modSp add mod">
        <pc:chgData name="Mette Frederiksen" userId="30ccb471-d9ba-46c6-baf4-28b32116df08" providerId="ADAL" clId="{FC12622C-C8DA-4CA5-B4BC-4D78CBECD1C6}" dt="2023-05-09T10:58:02.034" v="2451" actId="14100"/>
        <pc:sldMkLst>
          <pc:docMk/>
          <pc:sldMk cId="3233290939" sldId="355"/>
        </pc:sldMkLst>
        <pc:cxnChg chg="del mod">
          <ac:chgData name="Mette Frederiksen" userId="30ccb471-d9ba-46c6-baf4-28b32116df08" providerId="ADAL" clId="{FC12622C-C8DA-4CA5-B4BC-4D78CBECD1C6}" dt="2023-05-09T10:57:42.401" v="2447" actId="478"/>
          <ac:cxnSpMkLst>
            <pc:docMk/>
            <pc:sldMk cId="3233290939" sldId="355"/>
            <ac:cxnSpMk id="10" creationId="{8179F6A7-8F6D-413D-FF4E-45962F96F658}"/>
          </ac:cxnSpMkLst>
        </pc:cxnChg>
        <pc:cxnChg chg="add mod">
          <ac:chgData name="Mette Frederiksen" userId="30ccb471-d9ba-46c6-baf4-28b32116df08" providerId="ADAL" clId="{FC12622C-C8DA-4CA5-B4BC-4D78CBECD1C6}" dt="2023-05-09T10:58:02.034" v="2451" actId="14100"/>
          <ac:cxnSpMkLst>
            <pc:docMk/>
            <pc:sldMk cId="3233290939" sldId="355"/>
            <ac:cxnSpMk id="11" creationId="{5FC85A0B-D60E-E203-9A22-1B42C7AE9E19}"/>
          </ac:cxnSpMkLst>
        </pc:cxnChg>
      </pc:sldChg>
    </pc:docChg>
  </pc:docChgLst>
  <pc:docChgLst>
    <pc:chgData name="Charlie Grey" userId="S::cgrey@tankers.uk.com::9c66a5f6-f9e0-4ee4-aee9-403ae4ec6747" providerId="AD" clId="Web-{F80EE3E5-F108-87C0-D9E7-35DED5FE97B4}"/>
    <pc:docChg chg="delSld">
      <pc:chgData name="Charlie Grey" userId="S::cgrey@tankers.uk.com::9c66a5f6-f9e0-4ee4-aee9-403ae4ec6747" providerId="AD" clId="Web-{F80EE3E5-F108-87C0-D9E7-35DED5FE97B4}" dt="2023-05-11T09:09:45.473" v="1"/>
      <pc:docMkLst>
        <pc:docMk/>
      </pc:docMkLst>
      <pc:sldChg chg="del">
        <pc:chgData name="Charlie Grey" userId="S::cgrey@tankers.uk.com::9c66a5f6-f9e0-4ee4-aee9-403ae4ec6747" providerId="AD" clId="Web-{F80EE3E5-F108-87C0-D9E7-35DED5FE97B4}" dt="2023-05-11T09:09:44.144" v="0"/>
        <pc:sldMkLst>
          <pc:docMk/>
          <pc:sldMk cId="2624156028" sldId="343"/>
        </pc:sldMkLst>
      </pc:sldChg>
      <pc:sldChg chg="del">
        <pc:chgData name="Charlie Grey" userId="S::cgrey@tankers.uk.com::9c66a5f6-f9e0-4ee4-aee9-403ae4ec6747" providerId="AD" clId="Web-{F80EE3E5-F108-87C0-D9E7-35DED5FE97B4}" dt="2023-05-11T09:09:45.473" v="1"/>
        <pc:sldMkLst>
          <pc:docMk/>
          <pc:sldMk cId="1859917911" sldId="344"/>
        </pc:sldMkLst>
      </pc:sldChg>
    </pc:docChg>
  </pc:docChgLst>
  <pc:docChgLst>
    <pc:chgData name="Mette Frederiksen" userId="4aead8f0-50f2-4a93-a46e-6a2f52d1efba" providerId="ADAL" clId="{1BEA54A4-8012-4FCB-9419-928ABC980CA8}"/>
    <pc:docChg chg="custSel modSld">
      <pc:chgData name="Mette Frederiksen" userId="4aead8f0-50f2-4a93-a46e-6a2f52d1efba" providerId="ADAL" clId="{1BEA54A4-8012-4FCB-9419-928ABC980CA8}" dt="2023-03-17T08:58:31.735" v="10" actId="1038"/>
      <pc:docMkLst>
        <pc:docMk/>
      </pc:docMkLst>
      <pc:sldChg chg="addSp delSp modSp mod">
        <pc:chgData name="Mette Frederiksen" userId="4aead8f0-50f2-4a93-a46e-6a2f52d1efba" providerId="ADAL" clId="{1BEA54A4-8012-4FCB-9419-928ABC980CA8}" dt="2023-03-17T08:58:31.735" v="10" actId="1038"/>
        <pc:sldMkLst>
          <pc:docMk/>
          <pc:sldMk cId="3822721411" sldId="349"/>
        </pc:sldMkLst>
        <pc:picChg chg="del mod">
          <ac:chgData name="Mette Frederiksen" userId="4aead8f0-50f2-4a93-a46e-6a2f52d1efba" providerId="ADAL" clId="{1BEA54A4-8012-4FCB-9419-928ABC980CA8}" dt="2023-03-17T08:58:12.691" v="1" actId="478"/>
          <ac:picMkLst>
            <pc:docMk/>
            <pc:sldMk cId="3822721411" sldId="349"/>
            <ac:picMk id="4" creationId="{64DE4BAE-1DE6-DD34-C006-FF6940B71C8A}"/>
          </ac:picMkLst>
        </pc:picChg>
        <pc:picChg chg="add mod modCrop">
          <ac:chgData name="Mette Frederiksen" userId="4aead8f0-50f2-4a93-a46e-6a2f52d1efba" providerId="ADAL" clId="{1BEA54A4-8012-4FCB-9419-928ABC980CA8}" dt="2023-03-17T08:58:31.735" v="10" actId="1038"/>
          <ac:picMkLst>
            <pc:docMk/>
            <pc:sldMk cId="3822721411" sldId="349"/>
            <ac:picMk id="6" creationId="{7CFB390B-1759-C7AC-EA8F-1B799122C45D}"/>
          </ac:picMkLst>
        </pc:picChg>
      </pc:sldChg>
    </pc:docChg>
  </pc:docChgLst>
  <pc:docChgLst>
    <pc:chgData name="Mette Frederiksen" userId="30ccb471-d9ba-46c6-baf4-28b32116df08" providerId="ADAL" clId="{598B09DC-44F0-47C2-A94A-AD627AB99850}"/>
    <pc:docChg chg="delSld modSld">
      <pc:chgData name="Mette Frederiksen" userId="30ccb471-d9ba-46c6-baf4-28b32116df08" providerId="ADAL" clId="{598B09DC-44F0-47C2-A94A-AD627AB99850}" dt="2023-02-06T20:03:19.666" v="14" actId="47"/>
      <pc:docMkLst>
        <pc:docMk/>
      </pc:docMkLst>
      <pc:sldChg chg="modSp mod">
        <pc:chgData name="Mette Frederiksen" userId="30ccb471-d9ba-46c6-baf4-28b32116df08" providerId="ADAL" clId="{598B09DC-44F0-47C2-A94A-AD627AB99850}" dt="2023-02-06T20:02:24.616" v="13" actId="20577"/>
        <pc:sldMkLst>
          <pc:docMk/>
          <pc:sldMk cId="3130920926" sldId="338"/>
        </pc:sldMkLst>
        <pc:spChg chg="mod">
          <ac:chgData name="Mette Frederiksen" userId="30ccb471-d9ba-46c6-baf4-28b32116df08" providerId="ADAL" clId="{598B09DC-44F0-47C2-A94A-AD627AB99850}" dt="2023-02-06T20:01:39.216" v="1" actId="20577"/>
          <ac:spMkLst>
            <pc:docMk/>
            <pc:sldMk cId="3130920926" sldId="338"/>
            <ac:spMk id="3" creationId="{00000000-0000-0000-0000-000000000000}"/>
          </ac:spMkLst>
        </pc:spChg>
        <pc:graphicFrameChg chg="mod">
          <ac:chgData name="Mette Frederiksen" userId="30ccb471-d9ba-46c6-baf4-28b32116df08" providerId="ADAL" clId="{598B09DC-44F0-47C2-A94A-AD627AB99850}" dt="2023-02-06T20:02:24.616" v="13" actId="20577"/>
          <ac:graphicFrameMkLst>
            <pc:docMk/>
            <pc:sldMk cId="3130920926" sldId="338"/>
            <ac:graphicFrameMk id="6" creationId="{00000000-0000-0000-0000-000000000000}"/>
          </ac:graphicFrameMkLst>
        </pc:graphicFrameChg>
      </pc:sldChg>
      <pc:sldChg chg="del">
        <pc:chgData name="Mette Frederiksen" userId="30ccb471-d9ba-46c6-baf4-28b32116df08" providerId="ADAL" clId="{598B09DC-44F0-47C2-A94A-AD627AB99850}" dt="2023-02-06T20:03:19.666" v="14" actId="47"/>
        <pc:sldMkLst>
          <pc:docMk/>
          <pc:sldMk cId="2034185403" sldId="349"/>
        </pc:sldMkLst>
      </pc:sldChg>
    </pc:docChg>
  </pc:docChgLst>
  <pc:docChgLst>
    <pc:chgData name="Mette Frederiksen" userId="30ccb471-d9ba-46c6-baf4-28b32116df08" providerId="ADAL" clId="{CB6A83CB-4E98-4024-A797-F18B7957C64F}"/>
    <pc:docChg chg="custSel addSld modSld sldOrd modMainMaster replTag">
      <pc:chgData name="Mette Frederiksen" userId="30ccb471-d9ba-46c6-baf4-28b32116df08" providerId="ADAL" clId="{CB6A83CB-4E98-4024-A797-F18B7957C64F}" dt="2023-01-31T15:14:25.583" v="484"/>
      <pc:docMkLst>
        <pc:docMk/>
      </pc:docMkLst>
      <pc:sldChg chg="addSp delSp modSp new add mod ord setBg">
        <pc:chgData name="Mette Frederiksen" userId="30ccb471-d9ba-46c6-baf4-28b32116df08" providerId="ADAL" clId="{CB6A83CB-4E98-4024-A797-F18B7957C64F}" dt="2023-01-31T15:14:25.583" v="484"/>
        <pc:sldMkLst>
          <pc:docMk/>
          <pc:sldMk cId="2034185403" sldId="349"/>
        </pc:sldMkLst>
        <pc:spChg chg="mod ord">
          <ac:chgData name="Mette Frederiksen" userId="30ccb471-d9ba-46c6-baf4-28b32116df08" providerId="ADAL" clId="{CB6A83CB-4E98-4024-A797-F18B7957C64F}" dt="2023-01-31T15:09:09.882" v="425"/>
          <ac:spMkLst>
            <pc:docMk/>
            <pc:sldMk cId="2034185403" sldId="349"/>
            <ac:spMk id="2" creationId="{D3B429F3-2857-7A56-D701-485AD8FB5ACB}"/>
          </ac:spMkLst>
        </pc:spChg>
        <pc:spChg chg="mod ord">
          <ac:chgData name="Mette Frederiksen" userId="30ccb471-d9ba-46c6-baf4-28b32116df08" providerId="ADAL" clId="{CB6A83CB-4E98-4024-A797-F18B7957C64F}" dt="2023-01-31T15:09:09.883" v="427"/>
          <ac:spMkLst>
            <pc:docMk/>
            <pc:sldMk cId="2034185403" sldId="349"/>
            <ac:spMk id="3" creationId="{57815D38-A6EC-2F5F-E948-0D0C3C523597}"/>
          </ac:spMkLst>
        </pc:spChg>
        <pc:spChg chg="add del mod modVis">
          <ac:chgData name="Mette Frederiksen" userId="30ccb471-d9ba-46c6-baf4-28b32116df08" providerId="ADAL" clId="{CB6A83CB-4E98-4024-A797-F18B7957C64F}" dt="2023-01-31T15:05:11.232" v="256"/>
          <ac:spMkLst>
            <pc:docMk/>
            <pc:sldMk cId="2034185403" sldId="349"/>
            <ac:spMk id="5" creationId="{85D56862-ABED-6DE7-9C1B-62E2D9083677}"/>
          </ac:spMkLst>
        </pc:spChg>
        <pc:spChg chg="add del mod modVis">
          <ac:chgData name="Mette Frederiksen" userId="30ccb471-d9ba-46c6-baf4-28b32116df08" providerId="ADAL" clId="{CB6A83CB-4E98-4024-A797-F18B7957C64F}" dt="2023-01-31T15:05:16.001" v="339"/>
          <ac:spMkLst>
            <pc:docMk/>
            <pc:sldMk cId="2034185403" sldId="349"/>
            <ac:spMk id="7" creationId="{22AE76AF-BAB7-6391-8C14-2B23D96EAA11}"/>
          </ac:spMkLst>
        </pc:spChg>
        <pc:spChg chg="add del mod modVis">
          <ac:chgData name="Mette Frederiksen" userId="30ccb471-d9ba-46c6-baf4-28b32116df08" providerId="ADAL" clId="{CB6A83CB-4E98-4024-A797-F18B7957C64F}" dt="2023-01-31T15:05:22.910" v="384"/>
          <ac:spMkLst>
            <pc:docMk/>
            <pc:sldMk cId="2034185403" sldId="349"/>
            <ac:spMk id="8" creationId="{B169DDD0-F0F7-BCC3-6D1A-B9F49ACE6AD5}"/>
          </ac:spMkLst>
        </pc:spChg>
        <pc:graphicFrameChg chg="add del mod modGraphic">
          <ac:chgData name="Mette Frederiksen" userId="30ccb471-d9ba-46c6-baf4-28b32116df08" providerId="ADAL" clId="{CB6A83CB-4E98-4024-A797-F18B7957C64F}" dt="2023-01-31T15:08:12.927" v="413" actId="478"/>
          <ac:graphicFrameMkLst>
            <pc:docMk/>
            <pc:sldMk cId="2034185403" sldId="349"/>
            <ac:graphicFrameMk id="4" creationId="{4483BE46-56C3-1DCD-AFE1-FB7B34CF6AA9}"/>
          </ac:graphicFrameMkLst>
        </pc:graphicFrameChg>
        <pc:graphicFrameChg chg="add mod ord modVis replST">
          <ac:chgData name="Mette Frederiksen" userId="30ccb471-d9ba-46c6-baf4-28b32116df08" providerId="ADAL" clId="{CB6A83CB-4E98-4024-A797-F18B7957C64F}" dt="2023-01-31T15:09:09.890" v="435"/>
          <ac:graphicFrameMkLst>
            <pc:docMk/>
            <pc:sldMk cId="2034185403" sldId="349"/>
            <ac:graphicFrameMk id="6" creationId="{EB7E4E61-D7A3-CC45-094E-357970117D37}"/>
          </ac:graphicFrameMkLst>
        </pc:graphicFrameChg>
        <pc:graphicFrameChg chg="add mod ord modGraphic">
          <ac:chgData name="Mette Frederiksen" userId="30ccb471-d9ba-46c6-baf4-28b32116df08" providerId="ADAL" clId="{CB6A83CB-4E98-4024-A797-F18B7957C64F}" dt="2023-01-31T15:13:36.858" v="482" actId="255"/>
          <ac:graphicFrameMkLst>
            <pc:docMk/>
            <pc:sldMk cId="2034185403" sldId="349"/>
            <ac:graphicFrameMk id="12" creationId="{6C864951-5306-4A64-D50D-428F52C9A7E4}"/>
          </ac:graphicFrameMkLst>
        </pc:graphicFrameChg>
        <pc:cxnChg chg="add mod ord">
          <ac:chgData name="Mette Frederiksen" userId="30ccb471-d9ba-46c6-baf4-28b32116df08" providerId="ADAL" clId="{CB6A83CB-4E98-4024-A797-F18B7957C64F}" dt="2023-01-31T15:12:04.017" v="459" actId="1037"/>
          <ac:cxnSpMkLst>
            <pc:docMk/>
            <pc:sldMk cId="2034185403" sldId="349"/>
            <ac:cxnSpMk id="10" creationId="{AF49BFA1-8B79-4091-8143-A3EE52C1E2BC}"/>
          </ac:cxnSpMkLst>
        </pc:cxnChg>
        <pc:cxnChg chg="add mod ord">
          <ac:chgData name="Mette Frederiksen" userId="30ccb471-d9ba-46c6-baf4-28b32116df08" providerId="ADAL" clId="{CB6A83CB-4E98-4024-A797-F18B7957C64F}" dt="2023-01-31T15:12:06.747" v="460" actId="1037"/>
          <ac:cxnSpMkLst>
            <pc:docMk/>
            <pc:sldMk cId="2034185403" sldId="349"/>
            <ac:cxnSpMk id="11" creationId="{E2CAB027-911D-470B-C008-3741C2383DE8}"/>
          </ac:cxnSpMkLst>
        </pc:cxnChg>
      </pc:sldChg>
      <pc:sldMasterChg chg="addSp delSp modSp mod">
        <pc:chgData name="Mette Frederiksen" userId="30ccb471-d9ba-46c6-baf4-28b32116df08" providerId="ADAL" clId="{CB6A83CB-4E98-4024-A797-F18B7957C64F}" dt="2023-01-31T15:05:11.230" v="254"/>
        <pc:sldMasterMkLst>
          <pc:docMk/>
          <pc:sldMasterMk cId="533324797" sldId="2147483648"/>
        </pc:sldMasterMkLst>
        <pc:spChg chg="mod">
          <ac:chgData name="Mette Frederiksen" userId="30ccb471-d9ba-46c6-baf4-28b32116df08" providerId="ADAL" clId="{CB6A83CB-4E98-4024-A797-F18B7957C64F}" dt="2023-01-31T15:05:10.999" v="159" actId="948"/>
          <ac:spMkLst>
            <pc:docMk/>
            <pc:sldMasterMk cId="533324797" sldId="2147483648"/>
            <ac:spMk id="2" creationId="{00000000-0000-0000-0000-000000000000}"/>
          </ac:spMkLst>
        </pc:spChg>
        <pc:spChg chg="add del mod modVis">
          <ac:chgData name="Mette Frederiksen" userId="30ccb471-d9ba-46c6-baf4-28b32116df08" providerId="ADAL" clId="{CB6A83CB-4E98-4024-A797-F18B7957C64F}" dt="2023-01-31T15:05:11.157" v="238"/>
          <ac:spMkLst>
            <pc:docMk/>
            <pc:sldMasterMk cId="533324797" sldId="2147483648"/>
            <ac:spMk id="4" creationId="{43F17495-FF7A-DE22-103A-AAAADFEAA406}"/>
          </ac:spMkLst>
        </pc:spChg>
        <pc:graphicFrameChg chg="add mod ord modVis replST">
          <ac:chgData name="Mette Frederiksen" userId="30ccb471-d9ba-46c6-baf4-28b32116df08" providerId="ADAL" clId="{CB6A83CB-4E98-4024-A797-F18B7957C64F}" dt="2023-01-31T15:05:11.230" v="254"/>
          <ac:graphicFrameMkLst>
            <pc:docMk/>
            <pc:sldMasterMk cId="533324797" sldId="2147483648"/>
            <ac:graphicFrameMk id="5" creationId="{CE9A818A-35DB-2C1E-CA2D-446828E9D850}"/>
          </ac:graphicFrameMkLst>
        </pc:graphicFrameChg>
      </pc:sldMasterChg>
    </pc:docChg>
  </pc:docChgLst>
  <pc:docChgLst>
    <pc:chgData name="Mette Frederiksen" userId="30ccb471-d9ba-46c6-baf4-28b32116df08" providerId="ADAL" clId="{07AB5FA5-DB0C-4D76-835E-0680427DD340}"/>
    <pc:docChg chg="custSel addSld delSld modSld">
      <pc:chgData name="Mette Frederiksen" userId="30ccb471-d9ba-46c6-baf4-28b32116df08" providerId="ADAL" clId="{07AB5FA5-DB0C-4D76-835E-0680427DD340}" dt="2023-04-25T11:53:04.406" v="604" actId="732"/>
      <pc:docMkLst>
        <pc:docMk/>
      </pc:docMkLst>
      <pc:sldChg chg="modSp mod">
        <pc:chgData name="Mette Frederiksen" userId="30ccb471-d9ba-46c6-baf4-28b32116df08" providerId="ADAL" clId="{07AB5FA5-DB0C-4D76-835E-0680427DD340}" dt="2023-04-25T09:30:46.319" v="252" actId="20577"/>
        <pc:sldMkLst>
          <pc:docMk/>
          <pc:sldMk cId="2228417934" sldId="336"/>
        </pc:sldMkLst>
        <pc:spChg chg="mod">
          <ac:chgData name="Mette Frederiksen" userId="30ccb471-d9ba-46c6-baf4-28b32116df08" providerId="ADAL" clId="{07AB5FA5-DB0C-4D76-835E-0680427DD340}" dt="2023-04-25T09:30:46.319" v="252" actId="20577"/>
          <ac:spMkLst>
            <pc:docMk/>
            <pc:sldMk cId="2228417934" sldId="336"/>
            <ac:spMk id="4" creationId="{00000000-0000-0000-0000-000000000000}"/>
          </ac:spMkLst>
        </pc:spChg>
      </pc:sldChg>
      <pc:sldChg chg="modSp mod">
        <pc:chgData name="Mette Frederiksen" userId="30ccb471-d9ba-46c6-baf4-28b32116df08" providerId="ADAL" clId="{07AB5FA5-DB0C-4D76-835E-0680427DD340}" dt="2023-04-25T09:24:49.585" v="21" actId="20577"/>
        <pc:sldMkLst>
          <pc:docMk/>
          <pc:sldMk cId="3130920926" sldId="338"/>
        </pc:sldMkLst>
        <pc:spChg chg="mod">
          <ac:chgData name="Mette Frederiksen" userId="30ccb471-d9ba-46c6-baf4-28b32116df08" providerId="ADAL" clId="{07AB5FA5-DB0C-4D76-835E-0680427DD340}" dt="2023-04-25T09:23:58.116" v="5" actId="20577"/>
          <ac:spMkLst>
            <pc:docMk/>
            <pc:sldMk cId="3130920926" sldId="338"/>
            <ac:spMk id="3" creationId="{00000000-0000-0000-0000-000000000000}"/>
          </ac:spMkLst>
        </pc:spChg>
        <pc:graphicFrameChg chg="mod">
          <ac:chgData name="Mette Frederiksen" userId="30ccb471-d9ba-46c6-baf4-28b32116df08" providerId="ADAL" clId="{07AB5FA5-DB0C-4D76-835E-0680427DD340}" dt="2023-04-25T09:24:49.585" v="21" actId="20577"/>
          <ac:graphicFrameMkLst>
            <pc:docMk/>
            <pc:sldMk cId="3130920926" sldId="338"/>
            <ac:graphicFrameMk id="6" creationId="{00000000-0000-0000-0000-000000000000}"/>
          </ac:graphicFrameMkLst>
        </pc:graphicFrameChg>
      </pc:sldChg>
      <pc:sldChg chg="delSp modSp mod">
        <pc:chgData name="Mette Frederiksen" userId="30ccb471-d9ba-46c6-baf4-28b32116df08" providerId="ADAL" clId="{07AB5FA5-DB0C-4D76-835E-0680427DD340}" dt="2023-04-25T09:27:06.264" v="126" actId="27636"/>
        <pc:sldMkLst>
          <pc:docMk/>
          <pc:sldMk cId="262456113" sldId="339"/>
        </pc:sldMkLst>
        <pc:spChg chg="mod">
          <ac:chgData name="Mette Frederiksen" userId="30ccb471-d9ba-46c6-baf4-28b32116df08" providerId="ADAL" clId="{07AB5FA5-DB0C-4D76-835E-0680427DD340}" dt="2023-04-25T09:27:06.264" v="126" actId="27636"/>
          <ac:spMkLst>
            <pc:docMk/>
            <pc:sldMk cId="262456113" sldId="339"/>
            <ac:spMk id="4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26:04.801" v="54" actId="1035"/>
          <ac:spMkLst>
            <pc:docMk/>
            <pc:sldMk cId="262456113" sldId="339"/>
            <ac:spMk id="31" creationId="{00000000-0000-0000-0000-000000000000}"/>
          </ac:spMkLst>
        </pc:spChg>
        <pc:graphicFrameChg chg="mod modGraphic">
          <ac:chgData name="Mette Frederiksen" userId="30ccb471-d9ba-46c6-baf4-28b32116df08" providerId="ADAL" clId="{07AB5FA5-DB0C-4D76-835E-0680427DD340}" dt="2023-04-25T09:26:04.801" v="54" actId="1035"/>
          <ac:graphicFrameMkLst>
            <pc:docMk/>
            <pc:sldMk cId="262456113" sldId="339"/>
            <ac:graphicFrameMk id="20" creationId="{00000000-0000-0000-0000-000000000000}"/>
          </ac:graphicFrameMkLst>
        </pc:graphicFrameChg>
        <pc:picChg chg="mod">
          <ac:chgData name="Mette Frederiksen" userId="30ccb471-d9ba-46c6-baf4-28b32116df08" providerId="ADAL" clId="{07AB5FA5-DB0C-4D76-835E-0680427DD340}" dt="2023-04-25T09:26:04.801" v="54" actId="1035"/>
          <ac:picMkLst>
            <pc:docMk/>
            <pc:sldMk cId="262456113" sldId="339"/>
            <ac:picMk id="5" creationId="{00000000-0000-0000-0000-000000000000}"/>
          </ac:picMkLst>
        </pc:picChg>
        <pc:picChg chg="mod">
          <ac:chgData name="Mette Frederiksen" userId="30ccb471-d9ba-46c6-baf4-28b32116df08" providerId="ADAL" clId="{07AB5FA5-DB0C-4D76-835E-0680427DD340}" dt="2023-04-25T09:26:04.801" v="54" actId="1035"/>
          <ac:picMkLst>
            <pc:docMk/>
            <pc:sldMk cId="262456113" sldId="339"/>
            <ac:picMk id="6" creationId="{00000000-0000-0000-0000-000000000000}"/>
          </ac:picMkLst>
        </pc:picChg>
        <pc:picChg chg="mod">
          <ac:chgData name="Mette Frederiksen" userId="30ccb471-d9ba-46c6-baf4-28b32116df08" providerId="ADAL" clId="{07AB5FA5-DB0C-4D76-835E-0680427DD340}" dt="2023-04-25T09:26:04.801" v="54" actId="1035"/>
          <ac:picMkLst>
            <pc:docMk/>
            <pc:sldMk cId="262456113" sldId="339"/>
            <ac:picMk id="7" creationId="{00000000-0000-0000-0000-000000000000}"/>
          </ac:picMkLst>
        </pc:picChg>
        <pc:picChg chg="mod">
          <ac:chgData name="Mette Frederiksen" userId="30ccb471-d9ba-46c6-baf4-28b32116df08" providerId="ADAL" clId="{07AB5FA5-DB0C-4D76-835E-0680427DD340}" dt="2023-04-25T09:26:04.801" v="54" actId="1035"/>
          <ac:picMkLst>
            <pc:docMk/>
            <pc:sldMk cId="262456113" sldId="339"/>
            <ac:picMk id="14" creationId="{00000000-0000-0000-0000-000000000000}"/>
          </ac:picMkLst>
        </pc:picChg>
        <pc:picChg chg="del mod">
          <ac:chgData name="Mette Frederiksen" userId="30ccb471-d9ba-46c6-baf4-28b32116df08" providerId="ADAL" clId="{07AB5FA5-DB0C-4D76-835E-0680427DD340}" dt="2023-04-25T09:25:16.653" v="23" actId="478"/>
          <ac:picMkLst>
            <pc:docMk/>
            <pc:sldMk cId="262456113" sldId="339"/>
            <ac:picMk id="15" creationId="{00000000-0000-0000-0000-000000000000}"/>
          </ac:picMkLst>
        </pc:picChg>
        <pc:picChg chg="mod">
          <ac:chgData name="Mette Frederiksen" userId="30ccb471-d9ba-46c6-baf4-28b32116df08" providerId="ADAL" clId="{07AB5FA5-DB0C-4D76-835E-0680427DD340}" dt="2023-04-25T09:26:04.801" v="54" actId="1035"/>
          <ac:picMkLst>
            <pc:docMk/>
            <pc:sldMk cId="262456113" sldId="339"/>
            <ac:picMk id="21" creationId="{00000000-0000-0000-0000-000000000000}"/>
          </ac:picMkLst>
        </pc:picChg>
        <pc:picChg chg="mod">
          <ac:chgData name="Mette Frederiksen" userId="30ccb471-d9ba-46c6-baf4-28b32116df08" providerId="ADAL" clId="{07AB5FA5-DB0C-4D76-835E-0680427DD340}" dt="2023-04-25T09:26:04.801" v="54" actId="1035"/>
          <ac:picMkLst>
            <pc:docMk/>
            <pc:sldMk cId="262456113" sldId="339"/>
            <ac:picMk id="22" creationId="{00000000-0000-0000-0000-000000000000}"/>
          </ac:picMkLst>
        </pc:picChg>
        <pc:picChg chg="mod">
          <ac:chgData name="Mette Frederiksen" userId="30ccb471-d9ba-46c6-baf4-28b32116df08" providerId="ADAL" clId="{07AB5FA5-DB0C-4D76-835E-0680427DD340}" dt="2023-04-25T09:26:04.801" v="54" actId="1035"/>
          <ac:picMkLst>
            <pc:docMk/>
            <pc:sldMk cId="262456113" sldId="339"/>
            <ac:picMk id="23" creationId="{00000000-0000-0000-0000-000000000000}"/>
          </ac:picMkLst>
        </pc:picChg>
      </pc:sldChg>
      <pc:sldChg chg="modSp mod">
        <pc:chgData name="Mette Frederiksen" userId="30ccb471-d9ba-46c6-baf4-28b32116df08" providerId="ADAL" clId="{07AB5FA5-DB0C-4D76-835E-0680427DD340}" dt="2023-04-25T09:27:46.563" v="134" actId="20577"/>
        <pc:sldMkLst>
          <pc:docMk/>
          <pc:sldMk cId="2724035645" sldId="342"/>
        </pc:sldMkLst>
        <pc:spChg chg="mod">
          <ac:chgData name="Mette Frederiksen" userId="30ccb471-d9ba-46c6-baf4-28b32116df08" providerId="ADAL" clId="{07AB5FA5-DB0C-4D76-835E-0680427DD340}" dt="2023-04-25T09:27:46.563" v="134" actId="20577"/>
          <ac:spMkLst>
            <pc:docMk/>
            <pc:sldMk cId="2724035645" sldId="342"/>
            <ac:spMk id="2" creationId="{00000000-0000-0000-0000-000000000000}"/>
          </ac:spMkLst>
        </pc:spChg>
      </pc:sldChg>
      <pc:sldChg chg="addSp delSp modSp mod">
        <pc:chgData name="Mette Frederiksen" userId="30ccb471-d9ba-46c6-baf4-28b32116df08" providerId="ADAL" clId="{07AB5FA5-DB0C-4D76-835E-0680427DD340}" dt="2023-04-25T09:35:16.084" v="290" actId="20577"/>
        <pc:sldMkLst>
          <pc:docMk/>
          <pc:sldMk cId="2624156028" sldId="343"/>
        </pc:sldMkLst>
        <pc:spChg chg="mod">
          <ac:chgData name="Mette Frederiksen" userId="30ccb471-d9ba-46c6-baf4-28b32116df08" providerId="ADAL" clId="{07AB5FA5-DB0C-4D76-835E-0680427DD340}" dt="2023-04-25T09:35:16.084" v="290" actId="20577"/>
          <ac:spMkLst>
            <pc:docMk/>
            <pc:sldMk cId="2624156028" sldId="343"/>
            <ac:spMk id="2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3:04.037" v="266" actId="20577"/>
          <ac:spMkLst>
            <pc:docMk/>
            <pc:sldMk cId="2624156028" sldId="343"/>
            <ac:spMk id="26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3:26.420" v="268" actId="20577"/>
          <ac:spMkLst>
            <pc:docMk/>
            <pc:sldMk cId="2624156028" sldId="343"/>
            <ac:spMk id="28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5:05.433" v="281" actId="20577"/>
          <ac:spMkLst>
            <pc:docMk/>
            <pc:sldMk cId="2624156028" sldId="343"/>
            <ac:spMk id="31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3:54.020" v="272" actId="20577"/>
          <ac:spMkLst>
            <pc:docMk/>
            <pc:sldMk cId="2624156028" sldId="343"/>
            <ac:spMk id="39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5:09.245" v="283" actId="20577"/>
          <ac:spMkLst>
            <pc:docMk/>
            <pc:sldMk cId="2624156028" sldId="343"/>
            <ac:spMk id="40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4:48.121" v="277" actId="20577"/>
          <ac:spMkLst>
            <pc:docMk/>
            <pc:sldMk cId="2624156028" sldId="343"/>
            <ac:spMk id="45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3:45.202" v="270" actId="20577"/>
          <ac:spMkLst>
            <pc:docMk/>
            <pc:sldMk cId="2624156028" sldId="343"/>
            <ac:spMk id="47" creationId="{00000000-0000-0000-0000-000000000000}"/>
          </ac:spMkLst>
        </pc:spChg>
        <pc:picChg chg="add del mod">
          <ac:chgData name="Mette Frederiksen" userId="30ccb471-d9ba-46c6-baf4-28b32116df08" providerId="ADAL" clId="{07AB5FA5-DB0C-4D76-835E-0680427DD340}" dt="2023-04-25T09:35:11.759" v="285" actId="478"/>
          <ac:picMkLst>
            <pc:docMk/>
            <pc:sldMk cId="2624156028" sldId="343"/>
            <ac:picMk id="13" creationId="{F66330F5-590A-225B-40AC-64401170CDA0}"/>
          </ac:picMkLst>
        </pc:picChg>
      </pc:sldChg>
      <pc:sldChg chg="addSp delSp modSp mod">
        <pc:chgData name="Mette Frederiksen" userId="30ccb471-d9ba-46c6-baf4-28b32116df08" providerId="ADAL" clId="{07AB5FA5-DB0C-4D76-835E-0680427DD340}" dt="2023-04-25T09:43:56.371" v="359" actId="20577"/>
        <pc:sldMkLst>
          <pc:docMk/>
          <pc:sldMk cId="1859917911" sldId="344"/>
        </pc:sldMkLst>
        <pc:spChg chg="mod">
          <ac:chgData name="Mette Frederiksen" userId="30ccb471-d9ba-46c6-baf4-28b32116df08" providerId="ADAL" clId="{07AB5FA5-DB0C-4D76-835E-0680427DD340}" dt="2023-04-25T09:43:56.371" v="359" actId="20577"/>
          <ac:spMkLst>
            <pc:docMk/>
            <pc:sldMk cId="1859917911" sldId="344"/>
            <ac:spMk id="2" creationId="{00000000-0000-0000-0000-000000000000}"/>
          </ac:spMkLst>
        </pc:spChg>
        <pc:spChg chg="add del">
          <ac:chgData name="Mette Frederiksen" userId="30ccb471-d9ba-46c6-baf4-28b32116df08" providerId="ADAL" clId="{07AB5FA5-DB0C-4D76-835E-0680427DD340}" dt="2023-04-25T09:38:52.892" v="329" actId="478"/>
          <ac:spMkLst>
            <pc:docMk/>
            <pc:sldMk cId="1859917911" sldId="344"/>
            <ac:spMk id="15" creationId="{9C7C8C44-29C2-A859-A65E-08C31C5A56FC}"/>
          </ac:spMkLst>
        </pc:spChg>
        <pc:spChg chg="add del mod">
          <ac:chgData name="Mette Frederiksen" userId="30ccb471-d9ba-46c6-baf4-28b32116df08" providerId="ADAL" clId="{07AB5FA5-DB0C-4D76-835E-0680427DD340}" dt="2023-04-25T09:39:15.275" v="333" actId="478"/>
          <ac:spMkLst>
            <pc:docMk/>
            <pc:sldMk cId="1859917911" sldId="344"/>
            <ac:spMk id="16" creationId="{FD7BEF24-B70B-4BDD-A83C-84FF32530940}"/>
          </ac:spMkLst>
        </pc:spChg>
        <pc:spChg chg="add del">
          <ac:chgData name="Mette Frederiksen" userId="30ccb471-d9ba-46c6-baf4-28b32116df08" providerId="ADAL" clId="{07AB5FA5-DB0C-4D76-835E-0680427DD340}" dt="2023-04-25T09:39:23.525" v="335" actId="478"/>
          <ac:spMkLst>
            <pc:docMk/>
            <pc:sldMk cId="1859917911" sldId="344"/>
            <ac:spMk id="17" creationId="{DF6CD543-DB6E-3E20-3E8D-09A5ED5BEFAC}"/>
          </ac:spMkLst>
        </pc:spChg>
        <pc:spChg chg="add del mod">
          <ac:chgData name="Mette Frederiksen" userId="30ccb471-d9ba-46c6-baf4-28b32116df08" providerId="ADAL" clId="{07AB5FA5-DB0C-4D76-835E-0680427DD340}" dt="2023-04-25T09:39:31.874" v="338" actId="478"/>
          <ac:spMkLst>
            <pc:docMk/>
            <pc:sldMk cId="1859917911" sldId="344"/>
            <ac:spMk id="18" creationId="{24475F27-FEEB-CC05-1FD3-3C9F75BF2896}"/>
          </ac:spMkLst>
        </pc:spChg>
        <pc:spChg chg="add mod">
          <ac:chgData name="Mette Frederiksen" userId="30ccb471-d9ba-46c6-baf4-28b32116df08" providerId="ADAL" clId="{07AB5FA5-DB0C-4D76-835E-0680427DD340}" dt="2023-04-25T09:40:02.904" v="341"/>
          <ac:spMkLst>
            <pc:docMk/>
            <pc:sldMk cId="1859917911" sldId="344"/>
            <ac:spMk id="19" creationId="{071D3146-4EC7-C7A9-E30A-895FD7601DA8}"/>
          </ac:spMkLst>
        </pc:spChg>
        <pc:spChg chg="add mod">
          <ac:chgData name="Mette Frederiksen" userId="30ccb471-d9ba-46c6-baf4-28b32116df08" providerId="ADAL" clId="{07AB5FA5-DB0C-4D76-835E-0680427DD340}" dt="2023-04-25T09:40:20.121" v="352" actId="20577"/>
          <ac:spMkLst>
            <pc:docMk/>
            <pc:sldMk cId="1859917911" sldId="344"/>
            <ac:spMk id="22" creationId="{77FBB445-A7FC-0F7D-A06C-72296005EDEA}"/>
          </ac:spMkLst>
        </pc:spChg>
        <pc:spChg chg="mod">
          <ac:chgData name="Mette Frederiksen" userId="30ccb471-d9ba-46c6-baf4-28b32116df08" providerId="ADAL" clId="{07AB5FA5-DB0C-4D76-835E-0680427DD340}" dt="2023-04-25T09:36:13.431" v="303" actId="20577"/>
          <ac:spMkLst>
            <pc:docMk/>
            <pc:sldMk cId="1859917911" sldId="344"/>
            <ac:spMk id="26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6:24.232" v="305" actId="20577"/>
          <ac:spMkLst>
            <pc:docMk/>
            <pc:sldMk cId="1859917911" sldId="344"/>
            <ac:spMk id="28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40:10.557" v="342" actId="1076"/>
          <ac:spMkLst>
            <pc:docMk/>
            <pc:sldMk cId="1859917911" sldId="344"/>
            <ac:spMk id="31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7:02.547" v="309" actId="20577"/>
          <ac:spMkLst>
            <pc:docMk/>
            <pc:sldMk cId="1859917911" sldId="344"/>
            <ac:spMk id="32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7:05.731" v="311" actId="20577"/>
          <ac:spMkLst>
            <pc:docMk/>
            <pc:sldMk cId="1859917911" sldId="344"/>
            <ac:spMk id="39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40:27.173" v="355" actId="20577"/>
          <ac:spMkLst>
            <pc:docMk/>
            <pc:sldMk cId="1859917911" sldId="344"/>
            <ac:spMk id="40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5:58.794" v="296" actId="20577"/>
          <ac:spMkLst>
            <pc:docMk/>
            <pc:sldMk cId="1859917911" sldId="344"/>
            <ac:spMk id="45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8:36.810" v="327" actId="1076"/>
          <ac:spMkLst>
            <pc:docMk/>
            <pc:sldMk cId="1859917911" sldId="344"/>
            <ac:spMk id="47" creationId="{00000000-0000-0000-0000-000000000000}"/>
          </ac:spMkLst>
        </pc:spChg>
        <pc:spChg chg="mod">
          <ac:chgData name="Mette Frederiksen" userId="30ccb471-d9ba-46c6-baf4-28b32116df08" providerId="ADAL" clId="{07AB5FA5-DB0C-4D76-835E-0680427DD340}" dt="2023-04-25T09:37:42.481" v="315" actId="20577"/>
          <ac:spMkLst>
            <pc:docMk/>
            <pc:sldMk cId="1859917911" sldId="344"/>
            <ac:spMk id="48" creationId="{00000000-0000-0000-0000-000000000000}"/>
          </ac:spMkLst>
        </pc:spChg>
        <pc:picChg chg="add del mod">
          <ac:chgData name="Mette Frederiksen" userId="30ccb471-d9ba-46c6-baf4-28b32116df08" providerId="ADAL" clId="{07AB5FA5-DB0C-4D76-835E-0680427DD340}" dt="2023-04-25T09:38:28.272" v="325" actId="478"/>
          <ac:picMkLst>
            <pc:docMk/>
            <pc:sldMk cId="1859917911" sldId="344"/>
            <ac:picMk id="13" creationId="{08CD8524-65A6-D661-26C2-816082E95A40}"/>
          </ac:picMkLst>
        </pc:picChg>
      </pc:sldChg>
      <pc:sldChg chg="addSp delSp modSp new mod modClrScheme chgLayout">
        <pc:chgData name="Mette Frederiksen" userId="30ccb471-d9ba-46c6-baf4-28b32116df08" providerId="ADAL" clId="{07AB5FA5-DB0C-4D76-835E-0680427DD340}" dt="2023-04-25T11:53:04.406" v="604" actId="732"/>
        <pc:sldMkLst>
          <pc:docMk/>
          <pc:sldMk cId="3578660304" sldId="348"/>
        </pc:sldMkLst>
        <pc:spChg chg="mod ord">
          <ac:chgData name="Mette Frederiksen" userId="30ccb471-d9ba-46c6-baf4-28b32116df08" providerId="ADAL" clId="{07AB5FA5-DB0C-4D76-835E-0680427DD340}" dt="2023-04-25T11:45:41.935" v="569" actId="20577"/>
          <ac:spMkLst>
            <pc:docMk/>
            <pc:sldMk cId="3578660304" sldId="348"/>
            <ac:spMk id="2" creationId="{381F5221-ABC8-3D33-0538-3F1CB72BB413}"/>
          </ac:spMkLst>
        </pc:spChg>
        <pc:spChg chg="mod ord">
          <ac:chgData name="Mette Frederiksen" userId="30ccb471-d9ba-46c6-baf4-28b32116df08" providerId="ADAL" clId="{07AB5FA5-DB0C-4D76-835E-0680427DD340}" dt="2023-04-25T11:44:01.346" v="418" actId="700"/>
          <ac:spMkLst>
            <pc:docMk/>
            <pc:sldMk cId="3578660304" sldId="348"/>
            <ac:spMk id="3" creationId="{10512225-EAF9-7D24-62CC-B349A2E37649}"/>
          </ac:spMkLst>
        </pc:spChg>
        <pc:spChg chg="add mod ord">
          <ac:chgData name="Mette Frederiksen" userId="30ccb471-d9ba-46c6-baf4-28b32116df08" providerId="ADAL" clId="{07AB5FA5-DB0C-4D76-835E-0680427DD340}" dt="2023-04-25T11:46:32.256" v="585" actId="20577"/>
          <ac:spMkLst>
            <pc:docMk/>
            <pc:sldMk cId="3578660304" sldId="348"/>
            <ac:spMk id="7" creationId="{D7EB7AA7-05F4-3D19-C7D0-037C475C3B8B}"/>
          </ac:spMkLst>
        </pc:spChg>
        <pc:picChg chg="add del mod">
          <ac:chgData name="Mette Frederiksen" userId="30ccb471-d9ba-46c6-baf4-28b32116df08" providerId="ADAL" clId="{07AB5FA5-DB0C-4D76-835E-0680427DD340}" dt="2023-04-25T11:42:39.648" v="363" actId="478"/>
          <ac:picMkLst>
            <pc:docMk/>
            <pc:sldMk cId="3578660304" sldId="348"/>
            <ac:picMk id="4" creationId="{B0C72B87-16A4-2557-49D1-EEB544553DD9}"/>
          </ac:picMkLst>
        </pc:picChg>
        <pc:picChg chg="add del mod">
          <ac:chgData name="Mette Frederiksen" userId="30ccb471-d9ba-46c6-baf4-28b32116df08" providerId="ADAL" clId="{07AB5FA5-DB0C-4D76-835E-0680427DD340}" dt="2023-04-25T11:43:27.347" v="414" actId="478"/>
          <ac:picMkLst>
            <pc:docMk/>
            <pc:sldMk cId="3578660304" sldId="348"/>
            <ac:picMk id="5" creationId="{959AEEDA-563A-B8CA-CE93-BD0C118EB948}"/>
          </ac:picMkLst>
        </pc:picChg>
        <pc:picChg chg="add mod modCrop">
          <ac:chgData name="Mette Frederiksen" userId="30ccb471-d9ba-46c6-baf4-28b32116df08" providerId="ADAL" clId="{07AB5FA5-DB0C-4D76-835E-0680427DD340}" dt="2023-04-25T11:49:44.412" v="590" actId="732"/>
          <ac:picMkLst>
            <pc:docMk/>
            <pc:sldMk cId="3578660304" sldId="348"/>
            <ac:picMk id="6" creationId="{5F4C33BC-B13A-F51E-6BCF-4F668F872A78}"/>
          </ac:picMkLst>
        </pc:picChg>
        <pc:picChg chg="add mod modCrop">
          <ac:chgData name="Mette Frederiksen" userId="30ccb471-d9ba-46c6-baf4-28b32116df08" providerId="ADAL" clId="{07AB5FA5-DB0C-4D76-835E-0680427DD340}" dt="2023-04-25T11:49:50.819" v="591" actId="1076"/>
          <ac:picMkLst>
            <pc:docMk/>
            <pc:sldMk cId="3578660304" sldId="348"/>
            <ac:picMk id="8" creationId="{A1689DC7-6387-6BB5-0D3E-639C3A76E540}"/>
          </ac:picMkLst>
        </pc:picChg>
        <pc:picChg chg="add del mod modCrop">
          <ac:chgData name="Mette Frederiksen" userId="30ccb471-d9ba-46c6-baf4-28b32116df08" providerId="ADAL" clId="{07AB5FA5-DB0C-4D76-835E-0680427DD340}" dt="2023-04-25T11:52:30.188" v="597" actId="478"/>
          <ac:picMkLst>
            <pc:docMk/>
            <pc:sldMk cId="3578660304" sldId="348"/>
            <ac:picMk id="10" creationId="{840F5079-C866-38FB-9B80-35F5D801D6A9}"/>
          </ac:picMkLst>
        </pc:picChg>
        <pc:picChg chg="add mod modCrop">
          <ac:chgData name="Mette Frederiksen" userId="30ccb471-d9ba-46c6-baf4-28b32116df08" providerId="ADAL" clId="{07AB5FA5-DB0C-4D76-835E-0680427DD340}" dt="2023-04-25T11:53:04.406" v="604" actId="732"/>
          <ac:picMkLst>
            <pc:docMk/>
            <pc:sldMk cId="3578660304" sldId="348"/>
            <ac:picMk id="12" creationId="{DC077464-646A-2024-2523-46BEB69177BC}"/>
          </ac:picMkLst>
        </pc:picChg>
      </pc:sldChg>
      <pc:sldChg chg="del">
        <pc:chgData name="Mette Frederiksen" userId="30ccb471-d9ba-46c6-baf4-28b32116df08" providerId="ADAL" clId="{07AB5FA5-DB0C-4D76-835E-0680427DD340}" dt="2023-04-25T09:41:05.787" v="356" actId="47"/>
        <pc:sldMkLst>
          <pc:docMk/>
          <pc:sldMk cId="3822721411" sldId="34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AF0A22-D853-4D3F-8735-2417DA2460A9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7A11BEE2-1F32-47CC-AFFA-EB84B3E13AC7}">
      <dgm:prSet phldrT="[Text]" custT="1"/>
      <dgm:spPr>
        <a:solidFill>
          <a:srgbClr val="F2F2F2"/>
        </a:solidFill>
        <a:ln>
          <a:solidFill>
            <a:srgbClr val="334173"/>
          </a:solidFill>
        </a:ln>
      </dgm:spPr>
      <dgm:t>
        <a:bodyPr/>
        <a:lstStyle/>
        <a:p>
          <a:r>
            <a:rPr lang="en-GB" sz="2700" dirty="0">
              <a:solidFill>
                <a:srgbClr val="334173"/>
              </a:solidFill>
              <a:latin typeface="Gill Sans MT" panose="020B0502020104020203" pitchFamily="34" charset="0"/>
            </a:rPr>
            <a:t>Vessel Equipment</a:t>
          </a:r>
        </a:p>
        <a:p>
          <a:endParaRPr lang="en-GB" sz="14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r>
            <a:rPr lang="en-GB" sz="1400" dirty="0">
              <a:solidFill>
                <a:srgbClr val="334173"/>
              </a:solidFill>
              <a:latin typeface="Gill Sans MT" panose="020B0502020104020203" pitchFamily="34" charset="0"/>
            </a:rPr>
            <a:t>Automation vs. Practical Knowledge</a:t>
          </a:r>
        </a:p>
      </dgm:t>
    </dgm:pt>
    <dgm:pt modelId="{3D67AAC7-EDF3-476E-A541-13F08BE24351}" type="parTrans" cxnId="{63E90E4D-5A1D-4A7A-8B69-5E260556C824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C7B0A16E-7E7D-40D4-9352-8EA8696667B7}" type="sibTrans" cxnId="{63E90E4D-5A1D-4A7A-8B69-5E260556C824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AFDE415C-5EEE-4432-95A0-FB7408BDC9E4}">
      <dgm:prSet phldrT="[Text]" custT="1"/>
      <dgm:spPr>
        <a:solidFill>
          <a:srgbClr val="F2F2F2"/>
        </a:solidFill>
        <a:ln>
          <a:solidFill>
            <a:srgbClr val="334173"/>
          </a:solidFill>
        </a:ln>
      </dgm:spPr>
      <dgm:t>
        <a:bodyPr/>
        <a:lstStyle/>
        <a:p>
          <a:endParaRPr lang="en-GB" sz="27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r>
            <a:rPr lang="en-GB" sz="2700" dirty="0">
              <a:solidFill>
                <a:srgbClr val="334173"/>
              </a:solidFill>
              <a:latin typeface="Gill Sans MT" panose="020B0502020104020203" pitchFamily="34" charset="0"/>
            </a:rPr>
            <a:t>Automatic Data Flow</a:t>
          </a:r>
        </a:p>
        <a:p>
          <a:endParaRPr lang="en-GB" sz="14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r>
            <a:rPr lang="en-GB" sz="1400" dirty="0">
              <a:solidFill>
                <a:srgbClr val="334173"/>
              </a:solidFill>
              <a:latin typeface="Gill Sans MT" panose="020B0502020104020203" pitchFamily="34" charset="0"/>
            </a:rPr>
            <a:t>Data organisation and validation</a:t>
          </a:r>
        </a:p>
        <a:p>
          <a:endParaRPr lang="en-GB" sz="2300" dirty="0">
            <a:solidFill>
              <a:srgbClr val="334173"/>
            </a:solidFill>
            <a:latin typeface="Gill Sans MT" panose="020B0502020104020203" pitchFamily="34" charset="0"/>
          </a:endParaRPr>
        </a:p>
      </dgm:t>
    </dgm:pt>
    <dgm:pt modelId="{F6315BB4-0319-4388-B46F-0D74504D4407}" type="parTrans" cxnId="{1AE225EE-5233-41F2-A5A5-1DED7F9CF41C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09D8C830-969D-4609-8386-D9DB69EF62EB}" type="sibTrans" cxnId="{1AE225EE-5233-41F2-A5A5-1DED7F9CF41C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10ECA2CF-5CED-4282-A518-9FE9B0A01EFC}">
      <dgm:prSet phldrT="[Text]" custT="1"/>
      <dgm:spPr>
        <a:solidFill>
          <a:srgbClr val="F2F2F2"/>
        </a:solidFill>
        <a:ln>
          <a:solidFill>
            <a:srgbClr val="334173"/>
          </a:solidFill>
        </a:ln>
      </dgm:spPr>
      <dgm:t>
        <a:bodyPr/>
        <a:lstStyle/>
        <a:p>
          <a:endParaRPr lang="en-GB" sz="27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r>
            <a:rPr lang="en-GB" sz="2700" dirty="0">
              <a:solidFill>
                <a:srgbClr val="334173"/>
              </a:solidFill>
              <a:latin typeface="Gill Sans MT" panose="020B0502020104020203" pitchFamily="34" charset="0"/>
            </a:rPr>
            <a:t>Manual Reporting</a:t>
          </a:r>
        </a:p>
        <a:p>
          <a:endParaRPr lang="en-GB" sz="14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r>
            <a:rPr lang="en-GB" sz="1400" dirty="0">
              <a:solidFill>
                <a:srgbClr val="334173"/>
              </a:solidFill>
              <a:latin typeface="Gill Sans MT" panose="020B0502020104020203" pitchFamily="34" charset="0"/>
            </a:rPr>
            <a:t>Data standardisation to ensure quality </a:t>
          </a:r>
        </a:p>
        <a:p>
          <a:endParaRPr lang="en-GB" sz="2300" dirty="0">
            <a:solidFill>
              <a:srgbClr val="334173"/>
            </a:solidFill>
            <a:latin typeface="Gill Sans MT" panose="020B0502020104020203" pitchFamily="34" charset="0"/>
          </a:endParaRPr>
        </a:p>
      </dgm:t>
    </dgm:pt>
    <dgm:pt modelId="{EF6C0AB7-70C5-429E-95B5-047C1DD3CD26}" type="parTrans" cxnId="{D8D4D6B8-1682-42D6-A671-D4B979F67BD9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2310EF1A-2695-4DED-A754-E71FDCC21528}" type="sibTrans" cxnId="{D8D4D6B8-1682-42D6-A671-D4B979F67BD9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268FB75E-3197-4382-8332-E2B6F7D9892B}">
      <dgm:prSet custT="1"/>
      <dgm:spPr>
        <a:solidFill>
          <a:srgbClr val="F2F2F2"/>
        </a:solidFill>
        <a:ln>
          <a:solidFill>
            <a:srgbClr val="334173"/>
          </a:solidFill>
        </a:ln>
      </dgm:spPr>
      <dgm:t>
        <a:bodyPr/>
        <a:lstStyle/>
        <a:p>
          <a:endParaRPr lang="en-GB" sz="27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r>
            <a:rPr lang="en-GB" sz="2700" dirty="0">
              <a:solidFill>
                <a:srgbClr val="334173"/>
              </a:solidFill>
              <a:latin typeface="Gill Sans MT" panose="020B0502020104020203" pitchFamily="34" charset="0"/>
            </a:rPr>
            <a:t>Combining Data Sets</a:t>
          </a:r>
        </a:p>
        <a:p>
          <a:endParaRPr lang="en-GB" sz="14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r>
            <a:rPr lang="en-GB" sz="1400" dirty="0">
              <a:solidFill>
                <a:srgbClr val="334173"/>
              </a:solidFill>
              <a:latin typeface="Gill Sans MT" panose="020B0502020104020203" pitchFamily="34" charset="0"/>
            </a:rPr>
            <a:t>Data integration &amp; predictive modelling</a:t>
          </a:r>
        </a:p>
        <a:p>
          <a:endParaRPr lang="en-GB" sz="2300" dirty="0">
            <a:solidFill>
              <a:srgbClr val="334173"/>
            </a:solidFill>
            <a:latin typeface="Gill Sans MT" panose="020B0502020104020203" pitchFamily="34" charset="0"/>
          </a:endParaRPr>
        </a:p>
      </dgm:t>
    </dgm:pt>
    <dgm:pt modelId="{23EF8D4A-10F1-40E2-AD18-31C3F8AA4EC8}" type="parTrans" cxnId="{5A0A4A68-E540-4655-8420-CA413D0E2AC5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95776493-A948-4FCA-948B-6BF8740EF27B}" type="sibTrans" cxnId="{5A0A4A68-E540-4655-8420-CA413D0E2AC5}">
      <dgm:prSet/>
      <dgm:spPr/>
      <dgm:t>
        <a:bodyPr/>
        <a:lstStyle/>
        <a:p>
          <a:endParaRPr lang="en-GB">
            <a:latin typeface="Gill Sans MT" panose="020B0502020104020203" pitchFamily="34" charset="0"/>
          </a:endParaRPr>
        </a:p>
      </dgm:t>
    </dgm:pt>
    <dgm:pt modelId="{96C00CFF-F66F-4B3D-B688-107D7500DA85}" type="pres">
      <dgm:prSet presAssocID="{DDAF0A22-D853-4D3F-8735-2417DA2460A9}" presName="Name0" presStyleCnt="0">
        <dgm:presLayoutVars>
          <dgm:dir/>
          <dgm:resizeHandles val="exact"/>
        </dgm:presLayoutVars>
      </dgm:prSet>
      <dgm:spPr/>
    </dgm:pt>
    <dgm:pt modelId="{CBBA4A98-55CB-4086-98FC-5E6884A6A44A}" type="pres">
      <dgm:prSet presAssocID="{DDAF0A22-D853-4D3F-8735-2417DA2460A9}" presName="fgShape" presStyleLbl="fgShp" presStyleIdx="0" presStyleCnt="1" custFlipVert="1" custFlipHor="1" custScaleX="2787" custScaleY="24101" custLinFactY="15519" custLinFactNeighborX="0" custLinFactNeighborY="100000"/>
      <dgm:spPr>
        <a:noFill/>
        <a:ln>
          <a:noFill/>
        </a:ln>
      </dgm:spPr>
    </dgm:pt>
    <dgm:pt modelId="{0FFF5B9A-23D5-417F-9E57-888C433EB6FC}" type="pres">
      <dgm:prSet presAssocID="{DDAF0A22-D853-4D3F-8735-2417DA2460A9}" presName="linComp" presStyleCnt="0"/>
      <dgm:spPr/>
    </dgm:pt>
    <dgm:pt modelId="{A8FBC7DA-CAC6-408C-A5AD-A5EAF679ADD5}" type="pres">
      <dgm:prSet presAssocID="{7A11BEE2-1F32-47CC-AFFA-EB84B3E13AC7}" presName="compNode" presStyleCnt="0"/>
      <dgm:spPr/>
    </dgm:pt>
    <dgm:pt modelId="{386FFFF9-2CFC-48A7-B5DC-4C7962BF2B65}" type="pres">
      <dgm:prSet presAssocID="{7A11BEE2-1F32-47CC-AFFA-EB84B3E13AC7}" presName="bkgdShape" presStyleLbl="node1" presStyleIdx="0" presStyleCnt="4" custLinFactNeighborX="-95" custLinFactNeighborY="331"/>
      <dgm:spPr/>
    </dgm:pt>
    <dgm:pt modelId="{F995E217-B649-4876-BBCE-C69FBFB59E20}" type="pres">
      <dgm:prSet presAssocID="{7A11BEE2-1F32-47CC-AFFA-EB84B3E13AC7}" presName="nodeTx" presStyleLbl="node1" presStyleIdx="0" presStyleCnt="4">
        <dgm:presLayoutVars>
          <dgm:bulletEnabled val="1"/>
        </dgm:presLayoutVars>
      </dgm:prSet>
      <dgm:spPr/>
    </dgm:pt>
    <dgm:pt modelId="{00DD1391-6DE1-4027-89F2-6EB7D7A317E8}" type="pres">
      <dgm:prSet presAssocID="{7A11BEE2-1F32-47CC-AFFA-EB84B3E13AC7}" presName="invisiNode" presStyleLbl="node1" presStyleIdx="0" presStyleCnt="4"/>
      <dgm:spPr/>
    </dgm:pt>
    <dgm:pt modelId="{BDD386D3-E466-4E78-8E04-7EEDC20ED1E7}" type="pres">
      <dgm:prSet presAssocID="{7A11BEE2-1F32-47CC-AFFA-EB84B3E13AC7}" presName="imagNode" presStyleLbl="fgImgPlace1" presStyleIdx="0" presStyleCnt="4"/>
      <dgm:spPr/>
    </dgm:pt>
    <dgm:pt modelId="{D787CB76-4A17-4958-92D6-DB20E41D2ABC}" type="pres">
      <dgm:prSet presAssocID="{C7B0A16E-7E7D-40D4-9352-8EA8696667B7}" presName="sibTrans" presStyleLbl="sibTrans2D1" presStyleIdx="0" presStyleCnt="0"/>
      <dgm:spPr/>
    </dgm:pt>
    <dgm:pt modelId="{39FD5460-C7D0-43A0-BD9A-26F7CAC472DB}" type="pres">
      <dgm:prSet presAssocID="{AFDE415C-5EEE-4432-95A0-FB7408BDC9E4}" presName="compNode" presStyleCnt="0"/>
      <dgm:spPr/>
    </dgm:pt>
    <dgm:pt modelId="{88685E72-F162-45EF-A716-8EFC80DA546C}" type="pres">
      <dgm:prSet presAssocID="{AFDE415C-5EEE-4432-95A0-FB7408BDC9E4}" presName="bkgdShape" presStyleLbl="node1" presStyleIdx="1" presStyleCnt="4"/>
      <dgm:spPr/>
    </dgm:pt>
    <dgm:pt modelId="{09F38CF4-7858-435E-B69E-C58F99804BB5}" type="pres">
      <dgm:prSet presAssocID="{AFDE415C-5EEE-4432-95A0-FB7408BDC9E4}" presName="nodeTx" presStyleLbl="node1" presStyleIdx="1" presStyleCnt="4">
        <dgm:presLayoutVars>
          <dgm:bulletEnabled val="1"/>
        </dgm:presLayoutVars>
      </dgm:prSet>
      <dgm:spPr/>
    </dgm:pt>
    <dgm:pt modelId="{53AAEFD9-F11A-459C-9D4B-A35094372765}" type="pres">
      <dgm:prSet presAssocID="{AFDE415C-5EEE-4432-95A0-FB7408BDC9E4}" presName="invisiNode" presStyleLbl="node1" presStyleIdx="1" presStyleCnt="4"/>
      <dgm:spPr/>
    </dgm:pt>
    <dgm:pt modelId="{2E7089BC-1C6D-44D5-9DD9-C098F7185A2F}" type="pres">
      <dgm:prSet presAssocID="{AFDE415C-5EEE-4432-95A0-FB7408BDC9E4}" presName="imagNode" presStyleLbl="fgImgPlace1" presStyleIdx="1" presStyleCnt="4"/>
      <dgm:spPr/>
    </dgm:pt>
    <dgm:pt modelId="{01C74250-A931-4008-81AD-2B07D527C7D4}" type="pres">
      <dgm:prSet presAssocID="{09D8C830-969D-4609-8386-D9DB69EF62EB}" presName="sibTrans" presStyleLbl="sibTrans2D1" presStyleIdx="0" presStyleCnt="0"/>
      <dgm:spPr/>
    </dgm:pt>
    <dgm:pt modelId="{A60F7DE9-B353-4970-AA0A-4095CD40220D}" type="pres">
      <dgm:prSet presAssocID="{10ECA2CF-5CED-4282-A518-9FE9B0A01EFC}" presName="compNode" presStyleCnt="0"/>
      <dgm:spPr/>
    </dgm:pt>
    <dgm:pt modelId="{079BB915-2540-4A27-A365-0E6A5B6BC609}" type="pres">
      <dgm:prSet presAssocID="{10ECA2CF-5CED-4282-A518-9FE9B0A01EFC}" presName="bkgdShape" presStyleLbl="node1" presStyleIdx="2" presStyleCnt="4" custLinFactNeighborX="249"/>
      <dgm:spPr/>
    </dgm:pt>
    <dgm:pt modelId="{5AFA7C95-6FA0-4813-9ACE-60EC236D82DE}" type="pres">
      <dgm:prSet presAssocID="{10ECA2CF-5CED-4282-A518-9FE9B0A01EFC}" presName="nodeTx" presStyleLbl="node1" presStyleIdx="2" presStyleCnt="4">
        <dgm:presLayoutVars>
          <dgm:bulletEnabled val="1"/>
        </dgm:presLayoutVars>
      </dgm:prSet>
      <dgm:spPr/>
    </dgm:pt>
    <dgm:pt modelId="{CEBF1EA5-D948-4E32-9E2D-014772647606}" type="pres">
      <dgm:prSet presAssocID="{10ECA2CF-5CED-4282-A518-9FE9B0A01EFC}" presName="invisiNode" presStyleLbl="node1" presStyleIdx="2" presStyleCnt="4"/>
      <dgm:spPr/>
    </dgm:pt>
    <dgm:pt modelId="{6628E19F-CF33-4D5D-BA1B-9AD9B74FE267}" type="pres">
      <dgm:prSet presAssocID="{10ECA2CF-5CED-4282-A518-9FE9B0A01EFC}" presName="imagNode" presStyleLbl="fgImgPlace1" presStyleIdx="2" presStyleCnt="4"/>
      <dgm:spPr/>
    </dgm:pt>
    <dgm:pt modelId="{91D692FF-D50A-4A24-AED6-026289F30C54}" type="pres">
      <dgm:prSet presAssocID="{2310EF1A-2695-4DED-A754-E71FDCC21528}" presName="sibTrans" presStyleLbl="sibTrans2D1" presStyleIdx="0" presStyleCnt="0"/>
      <dgm:spPr/>
    </dgm:pt>
    <dgm:pt modelId="{30AA4F09-AA98-4B3A-AE02-B6565184FE76}" type="pres">
      <dgm:prSet presAssocID="{268FB75E-3197-4382-8332-E2B6F7D9892B}" presName="compNode" presStyleCnt="0"/>
      <dgm:spPr/>
    </dgm:pt>
    <dgm:pt modelId="{0CE30115-95D4-46CE-96B2-E6D1862BFB0D}" type="pres">
      <dgm:prSet presAssocID="{268FB75E-3197-4382-8332-E2B6F7D9892B}" presName="bkgdShape" presStyleLbl="node1" presStyleIdx="3" presStyleCnt="4" custLinFactNeighborX="3593"/>
      <dgm:spPr/>
    </dgm:pt>
    <dgm:pt modelId="{AE2CA28C-8C50-42D0-8B9F-8039B096895E}" type="pres">
      <dgm:prSet presAssocID="{268FB75E-3197-4382-8332-E2B6F7D9892B}" presName="nodeTx" presStyleLbl="node1" presStyleIdx="3" presStyleCnt="4">
        <dgm:presLayoutVars>
          <dgm:bulletEnabled val="1"/>
        </dgm:presLayoutVars>
      </dgm:prSet>
      <dgm:spPr/>
    </dgm:pt>
    <dgm:pt modelId="{873F9D36-7CA6-46E3-BEA3-86C565CEFCE6}" type="pres">
      <dgm:prSet presAssocID="{268FB75E-3197-4382-8332-E2B6F7D9892B}" presName="invisiNode" presStyleLbl="node1" presStyleIdx="3" presStyleCnt="4"/>
      <dgm:spPr/>
    </dgm:pt>
    <dgm:pt modelId="{10A725EB-5C3A-4429-A6EC-DF6D91181576}" type="pres">
      <dgm:prSet presAssocID="{268FB75E-3197-4382-8332-E2B6F7D9892B}" presName="imagNode" presStyleLbl="fgImgPlace1" presStyleIdx="3" presStyleCnt="4"/>
      <dgm:spPr/>
    </dgm:pt>
  </dgm:ptLst>
  <dgm:cxnLst>
    <dgm:cxn modelId="{A496340E-4C22-4506-A4A4-3E5BD97FCDEA}" type="presOf" srcId="{09D8C830-969D-4609-8386-D9DB69EF62EB}" destId="{01C74250-A931-4008-81AD-2B07D527C7D4}" srcOrd="0" destOrd="0" presId="urn:microsoft.com/office/officeart/2005/8/layout/hList7"/>
    <dgm:cxn modelId="{C1A11A0F-C4A7-4FEE-BB0F-25DED7C56F2E}" type="presOf" srcId="{C7B0A16E-7E7D-40D4-9352-8EA8696667B7}" destId="{D787CB76-4A17-4958-92D6-DB20E41D2ABC}" srcOrd="0" destOrd="0" presId="urn:microsoft.com/office/officeart/2005/8/layout/hList7"/>
    <dgm:cxn modelId="{79596E1B-D095-41AC-8391-BAD4613722CF}" type="presOf" srcId="{AFDE415C-5EEE-4432-95A0-FB7408BDC9E4}" destId="{09F38CF4-7858-435E-B69E-C58F99804BB5}" srcOrd="1" destOrd="0" presId="urn:microsoft.com/office/officeart/2005/8/layout/hList7"/>
    <dgm:cxn modelId="{DB7F103A-FBEB-4596-BFA7-55E3093BA501}" type="presOf" srcId="{10ECA2CF-5CED-4282-A518-9FE9B0A01EFC}" destId="{079BB915-2540-4A27-A365-0E6A5B6BC609}" srcOrd="0" destOrd="0" presId="urn:microsoft.com/office/officeart/2005/8/layout/hList7"/>
    <dgm:cxn modelId="{8801553F-2CA0-48D4-8A90-6D56B94B030C}" type="presOf" srcId="{268FB75E-3197-4382-8332-E2B6F7D9892B}" destId="{AE2CA28C-8C50-42D0-8B9F-8039B096895E}" srcOrd="1" destOrd="0" presId="urn:microsoft.com/office/officeart/2005/8/layout/hList7"/>
    <dgm:cxn modelId="{67D63844-E540-429A-B828-D1B1412A7C45}" type="presOf" srcId="{7A11BEE2-1F32-47CC-AFFA-EB84B3E13AC7}" destId="{386FFFF9-2CFC-48A7-B5DC-4C7962BF2B65}" srcOrd="0" destOrd="0" presId="urn:microsoft.com/office/officeart/2005/8/layout/hList7"/>
    <dgm:cxn modelId="{5A0A4A68-E540-4655-8420-CA413D0E2AC5}" srcId="{DDAF0A22-D853-4D3F-8735-2417DA2460A9}" destId="{268FB75E-3197-4382-8332-E2B6F7D9892B}" srcOrd="3" destOrd="0" parTransId="{23EF8D4A-10F1-40E2-AD18-31C3F8AA4EC8}" sibTransId="{95776493-A948-4FCA-948B-6BF8740EF27B}"/>
    <dgm:cxn modelId="{63E90E4D-5A1D-4A7A-8B69-5E260556C824}" srcId="{DDAF0A22-D853-4D3F-8735-2417DA2460A9}" destId="{7A11BEE2-1F32-47CC-AFFA-EB84B3E13AC7}" srcOrd="0" destOrd="0" parTransId="{3D67AAC7-EDF3-476E-A541-13F08BE24351}" sibTransId="{C7B0A16E-7E7D-40D4-9352-8EA8696667B7}"/>
    <dgm:cxn modelId="{4E095F8B-1D3E-415F-B592-B8BF1FD658AD}" type="presOf" srcId="{10ECA2CF-5CED-4282-A518-9FE9B0A01EFC}" destId="{5AFA7C95-6FA0-4813-9ACE-60EC236D82DE}" srcOrd="1" destOrd="0" presId="urn:microsoft.com/office/officeart/2005/8/layout/hList7"/>
    <dgm:cxn modelId="{943E339C-3593-4857-BE63-1E1DE4EA39C9}" type="presOf" srcId="{DDAF0A22-D853-4D3F-8735-2417DA2460A9}" destId="{96C00CFF-F66F-4B3D-B688-107D7500DA85}" srcOrd="0" destOrd="0" presId="urn:microsoft.com/office/officeart/2005/8/layout/hList7"/>
    <dgm:cxn modelId="{80E6A7AD-5045-401D-973D-AEC5E8F4FDE2}" type="presOf" srcId="{7A11BEE2-1F32-47CC-AFFA-EB84B3E13AC7}" destId="{F995E217-B649-4876-BBCE-C69FBFB59E20}" srcOrd="1" destOrd="0" presId="urn:microsoft.com/office/officeart/2005/8/layout/hList7"/>
    <dgm:cxn modelId="{D8D4D6B8-1682-42D6-A671-D4B979F67BD9}" srcId="{DDAF0A22-D853-4D3F-8735-2417DA2460A9}" destId="{10ECA2CF-5CED-4282-A518-9FE9B0A01EFC}" srcOrd="2" destOrd="0" parTransId="{EF6C0AB7-70C5-429E-95B5-047C1DD3CD26}" sibTransId="{2310EF1A-2695-4DED-A754-E71FDCC21528}"/>
    <dgm:cxn modelId="{2C23A1BC-5861-4BD8-9463-C8E77E4EDB73}" type="presOf" srcId="{268FB75E-3197-4382-8332-E2B6F7D9892B}" destId="{0CE30115-95D4-46CE-96B2-E6D1862BFB0D}" srcOrd="0" destOrd="0" presId="urn:microsoft.com/office/officeart/2005/8/layout/hList7"/>
    <dgm:cxn modelId="{CD906AD0-F5A3-4654-96FD-A1C2DA8CD9BE}" type="presOf" srcId="{2310EF1A-2695-4DED-A754-E71FDCC21528}" destId="{91D692FF-D50A-4A24-AED6-026289F30C54}" srcOrd="0" destOrd="0" presId="urn:microsoft.com/office/officeart/2005/8/layout/hList7"/>
    <dgm:cxn modelId="{1AE225EE-5233-41F2-A5A5-1DED7F9CF41C}" srcId="{DDAF0A22-D853-4D3F-8735-2417DA2460A9}" destId="{AFDE415C-5EEE-4432-95A0-FB7408BDC9E4}" srcOrd="1" destOrd="0" parTransId="{F6315BB4-0319-4388-B46F-0D74504D4407}" sibTransId="{09D8C830-969D-4609-8386-D9DB69EF62EB}"/>
    <dgm:cxn modelId="{9B71ABEF-8A34-44BC-805C-EAC7118CABF8}" type="presOf" srcId="{AFDE415C-5EEE-4432-95A0-FB7408BDC9E4}" destId="{88685E72-F162-45EF-A716-8EFC80DA546C}" srcOrd="0" destOrd="0" presId="urn:microsoft.com/office/officeart/2005/8/layout/hList7"/>
    <dgm:cxn modelId="{9D90289A-61C8-401F-927A-0B49BD62BE51}" type="presParOf" srcId="{96C00CFF-F66F-4B3D-B688-107D7500DA85}" destId="{CBBA4A98-55CB-4086-98FC-5E6884A6A44A}" srcOrd="0" destOrd="0" presId="urn:microsoft.com/office/officeart/2005/8/layout/hList7"/>
    <dgm:cxn modelId="{F2DDD48B-F20D-46DF-865A-45EE0A5DEFEF}" type="presParOf" srcId="{96C00CFF-F66F-4B3D-B688-107D7500DA85}" destId="{0FFF5B9A-23D5-417F-9E57-888C433EB6FC}" srcOrd="1" destOrd="0" presId="urn:microsoft.com/office/officeart/2005/8/layout/hList7"/>
    <dgm:cxn modelId="{677FF4A3-BDCF-466A-B4F9-CCAB1EE5AF7F}" type="presParOf" srcId="{0FFF5B9A-23D5-417F-9E57-888C433EB6FC}" destId="{A8FBC7DA-CAC6-408C-A5AD-A5EAF679ADD5}" srcOrd="0" destOrd="0" presId="urn:microsoft.com/office/officeart/2005/8/layout/hList7"/>
    <dgm:cxn modelId="{067FC936-06AD-491C-8014-260372C4A528}" type="presParOf" srcId="{A8FBC7DA-CAC6-408C-A5AD-A5EAF679ADD5}" destId="{386FFFF9-2CFC-48A7-B5DC-4C7962BF2B65}" srcOrd="0" destOrd="0" presId="urn:microsoft.com/office/officeart/2005/8/layout/hList7"/>
    <dgm:cxn modelId="{7F61D2C7-91A0-4400-964E-4E4BB6844869}" type="presParOf" srcId="{A8FBC7DA-CAC6-408C-A5AD-A5EAF679ADD5}" destId="{F995E217-B649-4876-BBCE-C69FBFB59E20}" srcOrd="1" destOrd="0" presId="urn:microsoft.com/office/officeart/2005/8/layout/hList7"/>
    <dgm:cxn modelId="{FE85C72A-C4C4-4F82-B146-AD1907A4EB6D}" type="presParOf" srcId="{A8FBC7DA-CAC6-408C-A5AD-A5EAF679ADD5}" destId="{00DD1391-6DE1-4027-89F2-6EB7D7A317E8}" srcOrd="2" destOrd="0" presId="urn:microsoft.com/office/officeart/2005/8/layout/hList7"/>
    <dgm:cxn modelId="{1007600E-2ADC-4DDE-8F4B-9A519ABC96A7}" type="presParOf" srcId="{A8FBC7DA-CAC6-408C-A5AD-A5EAF679ADD5}" destId="{BDD386D3-E466-4E78-8E04-7EEDC20ED1E7}" srcOrd="3" destOrd="0" presId="urn:microsoft.com/office/officeart/2005/8/layout/hList7"/>
    <dgm:cxn modelId="{E855CD5B-EB11-419C-96CA-6F2FB33F9C45}" type="presParOf" srcId="{0FFF5B9A-23D5-417F-9E57-888C433EB6FC}" destId="{D787CB76-4A17-4958-92D6-DB20E41D2ABC}" srcOrd="1" destOrd="0" presId="urn:microsoft.com/office/officeart/2005/8/layout/hList7"/>
    <dgm:cxn modelId="{5778FCBE-808D-4C05-A69E-384538C8CC4E}" type="presParOf" srcId="{0FFF5B9A-23D5-417F-9E57-888C433EB6FC}" destId="{39FD5460-C7D0-43A0-BD9A-26F7CAC472DB}" srcOrd="2" destOrd="0" presId="urn:microsoft.com/office/officeart/2005/8/layout/hList7"/>
    <dgm:cxn modelId="{5124B319-C22F-4593-87D7-6E30AFDDE62A}" type="presParOf" srcId="{39FD5460-C7D0-43A0-BD9A-26F7CAC472DB}" destId="{88685E72-F162-45EF-A716-8EFC80DA546C}" srcOrd="0" destOrd="0" presId="urn:microsoft.com/office/officeart/2005/8/layout/hList7"/>
    <dgm:cxn modelId="{4F539F66-3A2B-40CC-B6D0-6E4C1D437DAD}" type="presParOf" srcId="{39FD5460-C7D0-43A0-BD9A-26F7CAC472DB}" destId="{09F38CF4-7858-435E-B69E-C58F99804BB5}" srcOrd="1" destOrd="0" presId="urn:microsoft.com/office/officeart/2005/8/layout/hList7"/>
    <dgm:cxn modelId="{89F70DAC-FF06-4F9D-902D-0D1D84F07869}" type="presParOf" srcId="{39FD5460-C7D0-43A0-BD9A-26F7CAC472DB}" destId="{53AAEFD9-F11A-459C-9D4B-A35094372765}" srcOrd="2" destOrd="0" presId="urn:microsoft.com/office/officeart/2005/8/layout/hList7"/>
    <dgm:cxn modelId="{4E1D08CF-B794-4B3D-BB89-10CBA9072250}" type="presParOf" srcId="{39FD5460-C7D0-43A0-BD9A-26F7CAC472DB}" destId="{2E7089BC-1C6D-44D5-9DD9-C098F7185A2F}" srcOrd="3" destOrd="0" presId="urn:microsoft.com/office/officeart/2005/8/layout/hList7"/>
    <dgm:cxn modelId="{418BD86C-EE74-4B1A-96C4-912F74D7A64A}" type="presParOf" srcId="{0FFF5B9A-23D5-417F-9E57-888C433EB6FC}" destId="{01C74250-A931-4008-81AD-2B07D527C7D4}" srcOrd="3" destOrd="0" presId="urn:microsoft.com/office/officeart/2005/8/layout/hList7"/>
    <dgm:cxn modelId="{D54E2D1C-8747-4678-8759-702236D44571}" type="presParOf" srcId="{0FFF5B9A-23D5-417F-9E57-888C433EB6FC}" destId="{A60F7DE9-B353-4970-AA0A-4095CD40220D}" srcOrd="4" destOrd="0" presId="urn:microsoft.com/office/officeart/2005/8/layout/hList7"/>
    <dgm:cxn modelId="{FD945D2F-B784-4EE7-A1E6-5D307238313C}" type="presParOf" srcId="{A60F7DE9-B353-4970-AA0A-4095CD40220D}" destId="{079BB915-2540-4A27-A365-0E6A5B6BC609}" srcOrd="0" destOrd="0" presId="urn:microsoft.com/office/officeart/2005/8/layout/hList7"/>
    <dgm:cxn modelId="{BE79D76B-CC6A-43CB-AE6E-3EC72649AAB5}" type="presParOf" srcId="{A60F7DE9-B353-4970-AA0A-4095CD40220D}" destId="{5AFA7C95-6FA0-4813-9ACE-60EC236D82DE}" srcOrd="1" destOrd="0" presId="urn:microsoft.com/office/officeart/2005/8/layout/hList7"/>
    <dgm:cxn modelId="{B0E6EFB9-3405-4FF0-AFD8-1703B0B0F430}" type="presParOf" srcId="{A60F7DE9-B353-4970-AA0A-4095CD40220D}" destId="{CEBF1EA5-D948-4E32-9E2D-014772647606}" srcOrd="2" destOrd="0" presId="urn:microsoft.com/office/officeart/2005/8/layout/hList7"/>
    <dgm:cxn modelId="{766599D9-ECD7-43AE-8A28-3EB8EC30CF3F}" type="presParOf" srcId="{A60F7DE9-B353-4970-AA0A-4095CD40220D}" destId="{6628E19F-CF33-4D5D-BA1B-9AD9B74FE267}" srcOrd="3" destOrd="0" presId="urn:microsoft.com/office/officeart/2005/8/layout/hList7"/>
    <dgm:cxn modelId="{415D034E-E2E7-4F03-9325-CC5372659EAA}" type="presParOf" srcId="{0FFF5B9A-23D5-417F-9E57-888C433EB6FC}" destId="{91D692FF-D50A-4A24-AED6-026289F30C54}" srcOrd="5" destOrd="0" presId="urn:microsoft.com/office/officeart/2005/8/layout/hList7"/>
    <dgm:cxn modelId="{D51BC8C7-2BCE-40E8-81D7-4694D49BB52F}" type="presParOf" srcId="{0FFF5B9A-23D5-417F-9E57-888C433EB6FC}" destId="{30AA4F09-AA98-4B3A-AE02-B6565184FE76}" srcOrd="6" destOrd="0" presId="urn:microsoft.com/office/officeart/2005/8/layout/hList7"/>
    <dgm:cxn modelId="{1EB45C4F-767A-4694-8658-5DD527C1F62A}" type="presParOf" srcId="{30AA4F09-AA98-4B3A-AE02-B6565184FE76}" destId="{0CE30115-95D4-46CE-96B2-E6D1862BFB0D}" srcOrd="0" destOrd="0" presId="urn:microsoft.com/office/officeart/2005/8/layout/hList7"/>
    <dgm:cxn modelId="{1F9A52C9-A04C-4EE1-B372-FF2490E48F88}" type="presParOf" srcId="{30AA4F09-AA98-4B3A-AE02-B6565184FE76}" destId="{AE2CA28C-8C50-42D0-8B9F-8039B096895E}" srcOrd="1" destOrd="0" presId="urn:microsoft.com/office/officeart/2005/8/layout/hList7"/>
    <dgm:cxn modelId="{CD33602A-60FE-4EA6-856A-4DA5C81D345F}" type="presParOf" srcId="{30AA4F09-AA98-4B3A-AE02-B6565184FE76}" destId="{873F9D36-7CA6-46E3-BEA3-86C565CEFCE6}" srcOrd="2" destOrd="0" presId="urn:microsoft.com/office/officeart/2005/8/layout/hList7"/>
    <dgm:cxn modelId="{8819F90D-2739-4E11-922B-D95CF2FDDD34}" type="presParOf" srcId="{30AA4F09-AA98-4B3A-AE02-B6565184FE76}" destId="{10A725EB-5C3A-4429-A6EC-DF6D91181576}" srcOrd="3" destOrd="0" presId="urn:microsoft.com/office/officeart/2005/8/layout/hList7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6FFFF9-2CFC-48A7-B5DC-4C7962BF2B65}">
      <dsp:nvSpPr>
        <dsp:cNvPr id="0" name=""/>
        <dsp:cNvSpPr/>
      </dsp:nvSpPr>
      <dsp:spPr>
        <a:xfrm>
          <a:off x="8" y="0"/>
          <a:ext cx="2058926" cy="4768304"/>
        </a:xfrm>
        <a:prstGeom prst="roundRect">
          <a:avLst>
            <a:gd name="adj" fmla="val 10000"/>
          </a:avLst>
        </a:prstGeom>
        <a:solidFill>
          <a:srgbClr val="F2F2F2"/>
        </a:solidFill>
        <a:ln w="25400" cap="flat" cmpd="sng" algn="ctr">
          <a:solidFill>
            <a:srgbClr val="33417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 dirty="0">
              <a:solidFill>
                <a:srgbClr val="334173"/>
              </a:solidFill>
              <a:latin typeface="Gill Sans MT" panose="020B0502020104020203" pitchFamily="34" charset="0"/>
            </a:rPr>
            <a:t>Vessel Equipment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solidFill>
                <a:srgbClr val="334173"/>
              </a:solidFill>
              <a:latin typeface="Gill Sans MT" panose="020B0502020104020203" pitchFamily="34" charset="0"/>
            </a:rPr>
            <a:t>Automation vs. Practical Knowledge</a:t>
          </a:r>
        </a:p>
      </dsp:txBody>
      <dsp:txXfrm>
        <a:off x="8" y="1907321"/>
        <a:ext cx="2058926" cy="1907321"/>
      </dsp:txXfrm>
    </dsp:sp>
    <dsp:sp modelId="{BDD386D3-E466-4E78-8E04-7EEDC20ED1E7}">
      <dsp:nvSpPr>
        <dsp:cNvPr id="0" name=""/>
        <dsp:cNvSpPr/>
      </dsp:nvSpPr>
      <dsp:spPr>
        <a:xfrm>
          <a:off x="237504" y="286098"/>
          <a:ext cx="1587845" cy="158784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685E72-F162-45EF-A716-8EFC80DA546C}">
      <dsp:nvSpPr>
        <dsp:cNvPr id="0" name=""/>
        <dsp:cNvSpPr/>
      </dsp:nvSpPr>
      <dsp:spPr>
        <a:xfrm>
          <a:off x="2122658" y="0"/>
          <a:ext cx="2058926" cy="4768304"/>
        </a:xfrm>
        <a:prstGeom prst="roundRect">
          <a:avLst>
            <a:gd name="adj" fmla="val 10000"/>
          </a:avLst>
        </a:prstGeom>
        <a:solidFill>
          <a:srgbClr val="F2F2F2"/>
        </a:solidFill>
        <a:ln w="25400" cap="flat" cmpd="sng" algn="ctr">
          <a:solidFill>
            <a:srgbClr val="33417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700" kern="12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 dirty="0">
              <a:solidFill>
                <a:srgbClr val="334173"/>
              </a:solidFill>
              <a:latin typeface="Gill Sans MT" panose="020B0502020104020203" pitchFamily="34" charset="0"/>
            </a:rPr>
            <a:t>Automatic Data Flow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solidFill>
                <a:srgbClr val="334173"/>
              </a:solidFill>
              <a:latin typeface="Gill Sans MT" panose="020B0502020104020203" pitchFamily="34" charset="0"/>
            </a:rPr>
            <a:t>Data organisation and validation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300" kern="1200" dirty="0">
            <a:solidFill>
              <a:srgbClr val="334173"/>
            </a:solidFill>
            <a:latin typeface="Gill Sans MT" panose="020B0502020104020203" pitchFamily="34" charset="0"/>
          </a:endParaRPr>
        </a:p>
      </dsp:txBody>
      <dsp:txXfrm>
        <a:off x="2122658" y="1907321"/>
        <a:ext cx="2058926" cy="1907321"/>
      </dsp:txXfrm>
    </dsp:sp>
    <dsp:sp modelId="{2E7089BC-1C6D-44D5-9DD9-C098F7185A2F}">
      <dsp:nvSpPr>
        <dsp:cNvPr id="0" name=""/>
        <dsp:cNvSpPr/>
      </dsp:nvSpPr>
      <dsp:spPr>
        <a:xfrm>
          <a:off x="2358198" y="286098"/>
          <a:ext cx="1587845" cy="158784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9BB915-2540-4A27-A365-0E6A5B6BC609}">
      <dsp:nvSpPr>
        <dsp:cNvPr id="0" name=""/>
        <dsp:cNvSpPr/>
      </dsp:nvSpPr>
      <dsp:spPr>
        <a:xfrm>
          <a:off x="4248478" y="0"/>
          <a:ext cx="2058926" cy="4768304"/>
        </a:xfrm>
        <a:prstGeom prst="roundRect">
          <a:avLst>
            <a:gd name="adj" fmla="val 10000"/>
          </a:avLst>
        </a:prstGeom>
        <a:solidFill>
          <a:srgbClr val="F2F2F2"/>
        </a:solidFill>
        <a:ln w="25400" cap="flat" cmpd="sng" algn="ctr">
          <a:solidFill>
            <a:srgbClr val="33417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700" kern="12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 dirty="0">
              <a:solidFill>
                <a:srgbClr val="334173"/>
              </a:solidFill>
              <a:latin typeface="Gill Sans MT" panose="020B0502020104020203" pitchFamily="34" charset="0"/>
            </a:rPr>
            <a:t>Manual Reporting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solidFill>
                <a:srgbClr val="334173"/>
              </a:solidFill>
              <a:latin typeface="Gill Sans MT" panose="020B0502020104020203" pitchFamily="34" charset="0"/>
            </a:rPr>
            <a:t>Data standardisation to ensure quality 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300" kern="1200" dirty="0">
            <a:solidFill>
              <a:srgbClr val="334173"/>
            </a:solidFill>
            <a:latin typeface="Gill Sans MT" panose="020B0502020104020203" pitchFamily="34" charset="0"/>
          </a:endParaRPr>
        </a:p>
      </dsp:txBody>
      <dsp:txXfrm>
        <a:off x="4248478" y="1907321"/>
        <a:ext cx="2058926" cy="1907321"/>
      </dsp:txXfrm>
    </dsp:sp>
    <dsp:sp modelId="{6628E19F-CF33-4D5D-BA1B-9AD9B74FE267}">
      <dsp:nvSpPr>
        <dsp:cNvPr id="0" name=""/>
        <dsp:cNvSpPr/>
      </dsp:nvSpPr>
      <dsp:spPr>
        <a:xfrm>
          <a:off x="4478892" y="286098"/>
          <a:ext cx="1587845" cy="158784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E30115-95D4-46CE-96B2-E6D1862BFB0D}">
      <dsp:nvSpPr>
        <dsp:cNvPr id="0" name=""/>
        <dsp:cNvSpPr/>
      </dsp:nvSpPr>
      <dsp:spPr>
        <a:xfrm>
          <a:off x="6366009" y="0"/>
          <a:ext cx="2058926" cy="4768304"/>
        </a:xfrm>
        <a:prstGeom prst="roundRect">
          <a:avLst>
            <a:gd name="adj" fmla="val 10000"/>
          </a:avLst>
        </a:prstGeom>
        <a:solidFill>
          <a:srgbClr val="F2F2F2"/>
        </a:solidFill>
        <a:ln w="25400" cap="flat" cmpd="sng" algn="ctr">
          <a:solidFill>
            <a:srgbClr val="33417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700" kern="12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 dirty="0">
              <a:solidFill>
                <a:srgbClr val="334173"/>
              </a:solidFill>
              <a:latin typeface="Gill Sans MT" panose="020B0502020104020203" pitchFamily="34" charset="0"/>
            </a:rPr>
            <a:t>Combining Data Sets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400" kern="1200" dirty="0">
            <a:solidFill>
              <a:srgbClr val="334173"/>
            </a:solidFill>
            <a:latin typeface="Gill Sans MT" panose="020B0502020104020203" pitchFamily="34" charset="0"/>
          </a:endParaRP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solidFill>
                <a:srgbClr val="334173"/>
              </a:solidFill>
              <a:latin typeface="Gill Sans MT" panose="020B0502020104020203" pitchFamily="34" charset="0"/>
            </a:rPr>
            <a:t>Data integration &amp; predictive modelling</a:t>
          </a:r>
        </a:p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300" kern="1200" dirty="0">
            <a:solidFill>
              <a:srgbClr val="334173"/>
            </a:solidFill>
            <a:latin typeface="Gill Sans MT" panose="020B0502020104020203" pitchFamily="34" charset="0"/>
          </a:endParaRPr>
        </a:p>
      </dsp:txBody>
      <dsp:txXfrm>
        <a:off x="6366009" y="1907321"/>
        <a:ext cx="2058926" cy="1907321"/>
      </dsp:txXfrm>
    </dsp:sp>
    <dsp:sp modelId="{10A725EB-5C3A-4429-A6EC-DF6D91181576}">
      <dsp:nvSpPr>
        <dsp:cNvPr id="0" name=""/>
        <dsp:cNvSpPr/>
      </dsp:nvSpPr>
      <dsp:spPr>
        <a:xfrm>
          <a:off x="6599586" y="286098"/>
          <a:ext cx="1587845" cy="158784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BA4A98-55CB-4086-98FC-5E6884A6A44A}">
      <dsp:nvSpPr>
        <dsp:cNvPr id="0" name=""/>
        <dsp:cNvSpPr/>
      </dsp:nvSpPr>
      <dsp:spPr>
        <a:xfrm flipH="1" flipV="1">
          <a:off x="4104458" y="4595922"/>
          <a:ext cx="216018" cy="172381"/>
        </a:xfrm>
        <a:prstGeom prst="leftRightArrow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DE563C2A-72B8-446D-8016-888EC88E018C}" type="datetimeFigureOut">
              <a:rPr lang="en-GB" smtClean="0"/>
              <a:t>09/06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B4380484-9249-41E1-9398-E080E68CE6F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563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A720E9-0765-465C-8C62-5E1FC82B9BCB}" type="datetimeFigureOut">
              <a:rPr lang="en-GB" smtClean="0"/>
              <a:t>09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89AC93-B009-4685-A3DB-75DABB7C1D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70518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980728"/>
            <a:ext cx="5184576" cy="547260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88196" y="6605763"/>
            <a:ext cx="2895600" cy="19613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E77BA5-1201-4E04-BAA6-B139E1DC29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7646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88196" y="6605763"/>
            <a:ext cx="2895600" cy="196131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E77BA5-1201-4E04-BAA6-B139E1DC29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0323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9A818A-35DB-2C1E-CA2D-446828E9D8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1130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9A818A-35DB-2C1E-CA2D-446828E9D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885698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9512" y="980728"/>
            <a:ext cx="5112568" cy="54726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41204" y="6616715"/>
            <a:ext cx="1989584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002B72"/>
                </a:solidFill>
                <a:latin typeface="Gill Sans MT" panose="020B0502020104020203" pitchFamily="34" charset="0"/>
              </a:defRPr>
            </a:lvl1pPr>
          </a:lstStyle>
          <a:p>
            <a:fld id="{58E77BA5-1201-4E04-BAA6-B139E1DC29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7504" y="6557270"/>
            <a:ext cx="864096" cy="271573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179512" y="1124744"/>
            <a:ext cx="8856984" cy="0"/>
          </a:xfrm>
          <a:prstGeom prst="line">
            <a:avLst/>
          </a:prstGeom>
          <a:ln w="19050">
            <a:solidFill>
              <a:srgbClr val="002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107504" y="6525384"/>
            <a:ext cx="8856984" cy="0"/>
          </a:xfrm>
          <a:prstGeom prst="line">
            <a:avLst/>
          </a:prstGeom>
          <a:ln w="19050">
            <a:solidFill>
              <a:srgbClr val="002B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504" y="6594813"/>
            <a:ext cx="698310" cy="21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324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4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0" i="0" kern="1200">
          <a:solidFill>
            <a:srgbClr val="002B72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2B72"/>
        </a:buClr>
        <a:buFont typeface="Wingdings" panose="05000000000000000000" pitchFamily="2" charset="2"/>
        <a:buChar char="§"/>
        <a:defRPr sz="1800" kern="1200">
          <a:solidFill>
            <a:srgbClr val="747887"/>
          </a:solidFill>
          <a:latin typeface="Gill Sans MT" panose="020B0502020104020203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2B72"/>
        </a:buClr>
        <a:buFont typeface="Arial" panose="020B0604020202020204" pitchFamily="34" charset="0"/>
        <a:buChar char="–"/>
        <a:defRPr sz="1600" kern="1200">
          <a:solidFill>
            <a:srgbClr val="747887"/>
          </a:solidFill>
          <a:latin typeface="Gill Sans MT" panose="020B05020201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2B72"/>
        </a:buClr>
        <a:buFont typeface="Arial" panose="020B0604020202020204" pitchFamily="34" charset="0"/>
        <a:buChar char="•"/>
        <a:defRPr sz="1400" kern="1200">
          <a:solidFill>
            <a:srgbClr val="747887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002B72"/>
        </a:buClr>
        <a:buFont typeface="Arial" panose="020B0604020202020204" pitchFamily="34" charset="0"/>
        <a:buChar char="–"/>
        <a:defRPr sz="1200" kern="1200">
          <a:solidFill>
            <a:srgbClr val="747887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002B72"/>
        </a:buClr>
        <a:buFont typeface="Arial" panose="020B0604020202020204" pitchFamily="34" charset="0"/>
        <a:buChar char="»"/>
        <a:defRPr sz="1200" kern="1200">
          <a:solidFill>
            <a:srgbClr val="747887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8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E72FB5E-5254-0119-C935-7D35737004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300" b="6951"/>
          <a:stretch/>
        </p:blipFill>
        <p:spPr>
          <a:xfrm>
            <a:off x="0" y="-1"/>
            <a:ext cx="9144001" cy="684045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5536" y="620688"/>
            <a:ext cx="7920880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Digitalisation in the Tanker Industry</a:t>
            </a:r>
          </a:p>
          <a:p>
            <a:endParaRPr lang="en-GB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anose="020B0502020104020203" pitchFamily="34" charset="0"/>
            </a:endParaRPr>
          </a:p>
          <a:p>
            <a:r>
              <a:rPr lang="en-GB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Mette Frederiksen </a:t>
            </a:r>
          </a:p>
          <a:p>
            <a:r>
              <a:rPr lang="en-GB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anose="020B0502020104020203" pitchFamily="34" charset="0"/>
              </a:rPr>
              <a:t>Head of Research &amp; Insight at Tankers International</a:t>
            </a:r>
            <a:endParaRPr lang="en-GB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884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0BD00AA-7E93-2C40-EF62-5E1B15AB5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2" y="320860"/>
            <a:ext cx="8856984" cy="576064"/>
          </a:xfrm>
        </p:spPr>
        <p:txBody>
          <a:bodyPr/>
          <a:lstStyle/>
          <a:p>
            <a:r>
              <a:rPr lang="en-US" b="1" dirty="0" err="1"/>
              <a:t>Digitalisation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The balance between automation and human skill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BAA3E3-EEED-9201-74E0-65A3C7D7F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E77BA5-1201-4E04-BAA6-B139E1DC2911}" type="slidenum">
              <a:rPr lang="en-GB" smtClean="0"/>
              <a:pPr/>
              <a:t>2</a:t>
            </a:fld>
            <a:endParaRPr lang="en-GB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584A313-0A74-4EC8-BFDB-916A6C169E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6884533"/>
              </p:ext>
            </p:extLst>
          </p:nvPr>
        </p:nvGraphicFramePr>
        <p:xfrm>
          <a:off x="395536" y="1397000"/>
          <a:ext cx="8424936" cy="4768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 descr="A logo of a ship&#10;&#10;Description automatically generated with low confidence">
            <a:extLst>
              <a:ext uri="{FF2B5EF4-FFF2-40B4-BE49-F238E27FC236}">
                <a16:creationId xmlns:a16="http://schemas.microsoft.com/office/drawing/2014/main" id="{68B70A12-5B08-1313-E0ED-FC42D07317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844824"/>
            <a:ext cx="1152128" cy="1152128"/>
          </a:xfrm>
          <a:prstGeom prst="rect">
            <a:avLst/>
          </a:prstGeom>
        </p:spPr>
      </p:pic>
      <p:pic>
        <p:nvPicPr>
          <p:cNvPr id="4" name="Picture 3" descr="A picture containing circle, graphics, screenshot, design&#10;&#10;Description automatically generated">
            <a:extLst>
              <a:ext uri="{FF2B5EF4-FFF2-40B4-BE49-F238E27FC236}">
                <a16:creationId xmlns:a16="http://schemas.microsoft.com/office/drawing/2014/main" id="{B7A64947-84EA-A462-E0FE-3561E074F3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5384" y="1916832"/>
            <a:ext cx="1152000" cy="1152000"/>
          </a:xfrm>
          <a:prstGeom prst="rect">
            <a:avLst/>
          </a:prstGeom>
        </p:spPr>
      </p:pic>
      <p:pic>
        <p:nvPicPr>
          <p:cNvPr id="11" name="Picture 10" descr="A finger touching a button&#10;&#10;Description automatically generated with low confidence">
            <a:extLst>
              <a:ext uri="{FF2B5EF4-FFF2-40B4-BE49-F238E27FC236}">
                <a16:creationId xmlns:a16="http://schemas.microsoft.com/office/drawing/2014/main" id="{BDBB0581-5ED8-3192-C94B-5E4ABB48A4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184" y="1916960"/>
            <a:ext cx="1152000" cy="1152000"/>
          </a:xfrm>
          <a:prstGeom prst="rect">
            <a:avLst/>
          </a:prstGeom>
        </p:spPr>
      </p:pic>
      <p:pic>
        <p:nvPicPr>
          <p:cNvPr id="13" name="Picture 12" descr="A picture containing screenshot, clipart, graphics, circle&#10;&#10;Description automatically generated">
            <a:extLst>
              <a:ext uri="{FF2B5EF4-FFF2-40B4-BE49-F238E27FC236}">
                <a16:creationId xmlns:a16="http://schemas.microsoft.com/office/drawing/2014/main" id="{722C6384-01AD-CA43-BA41-791AAEA700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1854677"/>
            <a:ext cx="1152000" cy="1152000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DAE3C7C-E9AD-1B1A-A1D2-D9E7051AA3A4}"/>
              </a:ext>
            </a:extLst>
          </p:cNvPr>
          <p:cNvCxnSpPr/>
          <p:nvPr/>
        </p:nvCxnSpPr>
        <p:spPr>
          <a:xfrm>
            <a:off x="2843808" y="5229200"/>
            <a:ext cx="1440160" cy="0"/>
          </a:xfrm>
          <a:prstGeom prst="line">
            <a:avLst/>
          </a:prstGeom>
          <a:ln w="76200">
            <a:solidFill>
              <a:srgbClr val="F259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CDEFD9-E6B9-D632-117A-F124A2CAD08A}"/>
              </a:ext>
            </a:extLst>
          </p:cNvPr>
          <p:cNvCxnSpPr/>
          <p:nvPr/>
        </p:nvCxnSpPr>
        <p:spPr>
          <a:xfrm>
            <a:off x="7092280" y="5229200"/>
            <a:ext cx="1440160" cy="0"/>
          </a:xfrm>
          <a:prstGeom prst="line">
            <a:avLst/>
          </a:prstGeom>
          <a:ln w="76200">
            <a:solidFill>
              <a:srgbClr val="F259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E5FE988-095C-76E8-BA36-248BE31B59A9}"/>
              </a:ext>
            </a:extLst>
          </p:cNvPr>
          <p:cNvCxnSpPr/>
          <p:nvPr/>
        </p:nvCxnSpPr>
        <p:spPr>
          <a:xfrm>
            <a:off x="4932040" y="5229200"/>
            <a:ext cx="1440160" cy="0"/>
          </a:xfrm>
          <a:prstGeom prst="line">
            <a:avLst/>
          </a:prstGeom>
          <a:ln w="76200">
            <a:solidFill>
              <a:srgbClr val="F259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1C88FF-C4B6-EA28-09D3-4DA6009CA568}"/>
              </a:ext>
            </a:extLst>
          </p:cNvPr>
          <p:cNvCxnSpPr/>
          <p:nvPr/>
        </p:nvCxnSpPr>
        <p:spPr>
          <a:xfrm>
            <a:off x="755576" y="5229200"/>
            <a:ext cx="1440160" cy="0"/>
          </a:xfrm>
          <a:prstGeom prst="line">
            <a:avLst/>
          </a:prstGeom>
          <a:ln w="76200">
            <a:solidFill>
              <a:srgbClr val="F259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C47FB337-79DC-E917-A43E-9820540E553E}"/>
              </a:ext>
            </a:extLst>
          </p:cNvPr>
          <p:cNvSpPr/>
          <p:nvPr/>
        </p:nvSpPr>
        <p:spPr>
          <a:xfrm>
            <a:off x="6732240" y="1268755"/>
            <a:ext cx="2232376" cy="4968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MT" panose="020B050202010402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84B8473-769D-025D-15EB-16C2347E60BF}"/>
              </a:ext>
            </a:extLst>
          </p:cNvPr>
          <p:cNvSpPr/>
          <p:nvPr/>
        </p:nvSpPr>
        <p:spPr>
          <a:xfrm>
            <a:off x="4631440" y="1196752"/>
            <a:ext cx="2172808" cy="51125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MT" panose="020B050202010402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3CD4D3-C1CF-5AF4-5812-E0331CA08B4C}"/>
              </a:ext>
            </a:extLst>
          </p:cNvPr>
          <p:cNvSpPr/>
          <p:nvPr/>
        </p:nvSpPr>
        <p:spPr>
          <a:xfrm>
            <a:off x="2483768" y="1196752"/>
            <a:ext cx="2304128" cy="5112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MT" panose="020B050202010402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8CFFED-1866-E98D-9010-3D2742852F72}"/>
              </a:ext>
            </a:extLst>
          </p:cNvPr>
          <p:cNvSpPr/>
          <p:nvPr/>
        </p:nvSpPr>
        <p:spPr>
          <a:xfrm>
            <a:off x="372228" y="1268755"/>
            <a:ext cx="2291560" cy="5040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MT" panose="020B0502020104020203" pitchFamily="34" charset="0"/>
            </a:endParaRPr>
          </a:p>
        </p:txBody>
      </p:sp>
      <p:sp>
        <p:nvSpPr>
          <p:cNvPr id="26" name="Arrow: Left-Right 25">
            <a:extLst>
              <a:ext uri="{FF2B5EF4-FFF2-40B4-BE49-F238E27FC236}">
                <a16:creationId xmlns:a16="http://schemas.microsoft.com/office/drawing/2014/main" id="{6E7F32D1-2546-E3F5-2C45-59500096F69F}"/>
              </a:ext>
            </a:extLst>
          </p:cNvPr>
          <p:cNvSpPr/>
          <p:nvPr/>
        </p:nvSpPr>
        <p:spPr>
          <a:xfrm>
            <a:off x="539552" y="5301208"/>
            <a:ext cx="8064896" cy="764520"/>
          </a:xfrm>
          <a:prstGeom prst="leftRightArrow">
            <a:avLst/>
          </a:prstGeom>
          <a:solidFill>
            <a:schemeClr val="bg1">
              <a:lumMod val="95000"/>
            </a:schemeClr>
          </a:solidFill>
          <a:ln>
            <a:solidFill>
              <a:srgbClr val="F2592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25929"/>
                </a:solidFill>
                <a:latin typeface="Gill Sans MT" panose="020B0502020104020203" pitchFamily="34" charset="0"/>
              </a:rPr>
              <a:t>HIGHLY SKILLED PEOPLE</a:t>
            </a:r>
            <a:endParaRPr lang="en-GB" b="1" dirty="0">
              <a:solidFill>
                <a:srgbClr val="F25929"/>
              </a:solidFill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687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d012796-1d7d-408b-807e-dac66297f2b7">
      <Terms xmlns="http://schemas.microsoft.com/office/infopath/2007/PartnerControls"/>
    </lcf76f155ced4ddcb4097134ff3c332f>
    <TaxCatchAll xmlns="d2a087bb-4fae-4007-8268-4d4d8346c7fc" xsi:nil="true"/>
    <SharedWithUsers xmlns="d2a087bb-4fae-4007-8268-4d4d8346c7fc">
      <UserInfo>
        <DisplayName>Charlie Grey</DisplayName>
        <AccountId>16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AC4541543DB44A8D6EEB61ED8E5EAB" ma:contentTypeVersion="12" ma:contentTypeDescription="Create a new document." ma:contentTypeScope="" ma:versionID="eee4fa52acb2a37b848362cc8e058a4b">
  <xsd:schema xmlns:xsd="http://www.w3.org/2001/XMLSchema" xmlns:xs="http://www.w3.org/2001/XMLSchema" xmlns:p="http://schemas.microsoft.com/office/2006/metadata/properties" xmlns:ns2="ad012796-1d7d-408b-807e-dac66297f2b7" xmlns:ns3="d2a087bb-4fae-4007-8268-4d4d8346c7fc" targetNamespace="http://schemas.microsoft.com/office/2006/metadata/properties" ma:root="true" ma:fieldsID="d614b1b7c81133e208269ba9227d11d2" ns2:_="" ns3:_="">
    <xsd:import namespace="ad012796-1d7d-408b-807e-dac66297f2b7"/>
    <xsd:import namespace="d2a087bb-4fae-4007-8268-4d4d8346c7f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012796-1d7d-408b-807e-dac66297f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456b1f58-622b-4c47-8abe-c60aa58133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a087bb-4fae-4007-8268-4d4d8346c7f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d10a009-9c1b-4be3-bcdd-dda51d3a2a8e}" ma:internalName="TaxCatchAll" ma:showField="CatchAllData" ma:web="d2a087bb-4fae-4007-8268-4d4d8346c7f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5428CF-8A29-4FAF-9A28-574F087C46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4F6099-3DCD-4226-8ECD-ED9C7BF7749B}">
  <ds:schemaRefs>
    <ds:schemaRef ds:uri="http://schemas.microsoft.com/office/2006/metadata/properties"/>
    <ds:schemaRef ds:uri="http://purl.org/dc/dcmitype/"/>
    <ds:schemaRef ds:uri="http://purl.org/dc/elements/1.1/"/>
    <ds:schemaRef ds:uri="ad012796-1d7d-408b-807e-dac66297f2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d2a087bb-4fae-4007-8268-4d4d8346c7fc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A8EA6B8-251E-49DB-B163-22DA1DF12D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012796-1d7d-408b-807e-dac66297f2b7"/>
    <ds:schemaRef ds:uri="d2a087bb-4fae-4007-8268-4d4d8346c7f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127</TotalTime>
  <Words>57</Words>
  <Application>Microsoft Office PowerPoint</Application>
  <PresentationFormat>On-screen Show (4:3)</PresentationFormat>
  <Paragraphs>2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Gill Sans MT</vt:lpstr>
      <vt:lpstr>Wingdings</vt:lpstr>
      <vt:lpstr>Office Theme</vt:lpstr>
      <vt:lpstr>think-cell Slide</vt:lpstr>
      <vt:lpstr>PowerPoint Presentation</vt:lpstr>
      <vt:lpstr>Digitalisation  The balance between automation and human skill</vt:lpstr>
    </vt:vector>
  </TitlesOfParts>
  <Company>Eurona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te frederiksen</dc:creator>
  <cp:lastModifiedBy>Mette Frederiksen</cp:lastModifiedBy>
  <cp:revision>374</cp:revision>
  <cp:lastPrinted>2022-02-07T10:10:58Z</cp:lastPrinted>
  <dcterms:created xsi:type="dcterms:W3CDTF">2017-05-11T08:52:45Z</dcterms:created>
  <dcterms:modified xsi:type="dcterms:W3CDTF">2023-06-09T15:0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AC4541543DB44A8D6EEB61ED8E5EAB</vt:lpwstr>
  </property>
  <property fmtid="{D5CDD505-2E9C-101B-9397-08002B2CF9AE}" pid="3" name="MediaServiceImageTags">
    <vt:lpwstr/>
  </property>
</Properties>
</file>